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notesSlides/notesSlide1.xml" ContentType="application/vnd.openxmlformats-officedocument.presentationml.notesSlide+xml"/>
  <Override PartName="/ppt/tags/tag88.xml" ContentType="application/vnd.openxmlformats-officedocument.presentationml.tags+xml"/>
  <Override PartName="/ppt/notesSlides/notesSlide2.xml" ContentType="application/vnd.openxmlformats-officedocument.presentationml.notesSlide+xml"/>
  <Override PartName="/ppt/tags/tag89.xml" ContentType="application/vnd.openxmlformats-officedocument.presentationml.tags+xml"/>
  <Override PartName="/ppt/notesSlides/notesSlide3.xml" ContentType="application/vnd.openxmlformats-officedocument.presentationml.notesSlide+xml"/>
  <Override PartName="/ppt/tags/tag90.xml" ContentType="application/vnd.openxmlformats-officedocument.presentationml.tags+xml"/>
  <Override PartName="/ppt/tags/tag91.xml" ContentType="application/vnd.openxmlformats-officedocument.presentationml.tags+xml"/>
  <Override PartName="/ppt/notesSlides/notesSlide4.xml" ContentType="application/vnd.openxmlformats-officedocument.presentationml.notesSlide+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notesSlides/notesSlide5.xml" ContentType="application/vnd.openxmlformats-officedocument.presentationml.notesSlide+xml"/>
  <Override PartName="/ppt/tags/tag96.xml" ContentType="application/vnd.openxmlformats-officedocument.presentationml.tags+xml"/>
  <Override PartName="/ppt/tags/tag97.xml" ContentType="application/vnd.openxmlformats-officedocument.presentationml.tags+xml"/>
  <Override PartName="/ppt/notesSlides/notesSlide6.xml" ContentType="application/vnd.openxmlformats-officedocument.presentationml.notesSlide+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notesSlides/notesSlide7.xml" ContentType="application/vnd.openxmlformats-officedocument.presentationml.notesSlide+xml"/>
  <Override PartName="/ppt/tags/tag102.xml" ContentType="application/vnd.openxmlformats-officedocument.presentationml.tags+xml"/>
  <Override PartName="/ppt/tags/tag103.xml" ContentType="application/vnd.openxmlformats-officedocument.presentationml.tags+xml"/>
  <Override PartName="/ppt/notesSlides/notesSlide8.xml" ContentType="application/vnd.openxmlformats-officedocument.presentationml.notesSlide+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notesSlides/notesSlide9.xml" ContentType="application/vnd.openxmlformats-officedocument.presentationml.notesSlide+xml"/>
  <Override PartName="/ppt/tags/tag108.xml" ContentType="application/vnd.openxmlformats-officedocument.presentationml.tags+xml"/>
  <Override PartName="/ppt/tags/tag109.xml" ContentType="application/vnd.openxmlformats-officedocument.presentationml.tags+xml"/>
  <Override PartName="/ppt/notesSlides/notesSlide10.xml" ContentType="application/vnd.openxmlformats-officedocument.presentationml.notesSlide+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5117" r:id="rId1"/>
  </p:sldMasterIdLst>
  <p:notesMasterIdLst>
    <p:notesMasterId r:id="rId19"/>
  </p:notesMasterIdLst>
  <p:handoutMasterIdLst>
    <p:handoutMasterId r:id="rId20"/>
  </p:handoutMasterIdLst>
  <p:sldIdLst>
    <p:sldId id="259" r:id="rId2"/>
    <p:sldId id="264" r:id="rId3"/>
    <p:sldId id="271" r:id="rId4"/>
    <p:sldId id="262" r:id="rId5"/>
    <p:sldId id="263" r:id="rId6"/>
    <p:sldId id="265" r:id="rId7"/>
    <p:sldId id="278" r:id="rId8"/>
    <p:sldId id="270" r:id="rId9"/>
    <p:sldId id="266" r:id="rId10"/>
    <p:sldId id="267" r:id="rId11"/>
    <p:sldId id="272" r:id="rId12"/>
    <p:sldId id="268" r:id="rId13"/>
    <p:sldId id="269" r:id="rId14"/>
    <p:sldId id="273" r:id="rId15"/>
    <p:sldId id="274" r:id="rId16"/>
    <p:sldId id="276" r:id="rId17"/>
    <p:sldId id="277" r:id="rId18"/>
  </p:sldIdLst>
  <p:sldSz cx="12192000" cy="6858000"/>
  <p:notesSz cx="6950075" cy="9236075"/>
  <p:custShowLst>
    <p:custShow name="Format Guide Workshop" id="0">
      <p:sldLst/>
    </p:custShow>
  </p:custShowLst>
  <p:custDataLst>
    <p:tags r:id="rId2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9882" autoAdjust="0"/>
    <p:restoredTop sz="96323" autoAdjust="0"/>
  </p:normalViewPr>
  <p:slideViewPr>
    <p:cSldViewPr snapToGrid="0">
      <p:cViewPr varScale="1">
        <p:scale>
          <a:sx n="165" d="100"/>
          <a:sy n="165" d="100"/>
        </p:scale>
        <p:origin x="2334" y="132"/>
      </p:cViewPr>
      <p:guideLst>
        <p:guide orient="horz" pos="2160"/>
        <p:guide pos="3840"/>
      </p:guideLst>
    </p:cSldViewPr>
  </p:slideViewPr>
  <p:outlineViewPr>
    <p:cViewPr>
      <p:scale>
        <a:sx n="33" d="100"/>
        <a:sy n="33" d="100"/>
      </p:scale>
      <p:origin x="0" y="0"/>
    </p:cViewPr>
  </p:outlineViewPr>
  <p:notesTextViewPr>
    <p:cViewPr>
      <p:scale>
        <a:sx n="3" d="2"/>
        <a:sy n="3" d="2"/>
      </p:scale>
      <p:origin x="0" y="0"/>
    </p:cViewPr>
  </p:notesTextViewPr>
  <p:sorterViewPr>
    <p:cViewPr>
      <p:scale>
        <a:sx n="66" d="100"/>
        <a:sy n="66" d="100"/>
      </p:scale>
      <p:origin x="0" y="0"/>
    </p:cViewPr>
  </p:sorterViewPr>
  <p:notesViewPr>
    <p:cSldViewPr snapToGrid="0">
      <p:cViewPr>
        <p:scale>
          <a:sx n="75" d="100"/>
          <a:sy n="75" d="100"/>
        </p:scale>
        <p:origin x="2574" y="444"/>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3" Type="http://schemas.openxmlformats.org/officeDocument/2006/relationships/slide" Target="slides/slide2.xml"/><Relationship Id="rId21" Type="http://schemas.openxmlformats.org/officeDocument/2006/relationships/tags" Target="tags/tag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5.v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image" Target="../media/image10.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3"/>
            <a:ext cx="3011699" cy="463408"/>
          </a:xfrm>
          <a:prstGeom prst="rect">
            <a:avLst/>
          </a:prstGeom>
        </p:spPr>
        <p:txBody>
          <a:bodyPr vert="horz" lIns="92492" tIns="46246" rIns="92492" bIns="46246" rtlCol="0"/>
          <a:lstStyle>
            <a:lvl1pPr algn="l">
              <a:defRPr sz="1200"/>
            </a:lvl1pPr>
          </a:lstStyle>
          <a:p>
            <a:endParaRPr lang="en-US" sz="800" dirty="0"/>
          </a:p>
        </p:txBody>
      </p:sp>
      <p:sp>
        <p:nvSpPr>
          <p:cNvPr id="3" name="Date Placeholder 2"/>
          <p:cNvSpPr>
            <a:spLocks noGrp="1"/>
          </p:cNvSpPr>
          <p:nvPr>
            <p:ph type="dt" sz="quarter" idx="1"/>
          </p:nvPr>
        </p:nvSpPr>
        <p:spPr>
          <a:xfrm>
            <a:off x="3936770" y="3"/>
            <a:ext cx="3011699" cy="463408"/>
          </a:xfrm>
          <a:prstGeom prst="rect">
            <a:avLst/>
          </a:prstGeom>
        </p:spPr>
        <p:txBody>
          <a:bodyPr vert="horz" lIns="92492" tIns="46246" rIns="92492" bIns="46246" rtlCol="0"/>
          <a:lstStyle>
            <a:lvl1pPr algn="r">
              <a:defRPr sz="1200"/>
            </a:lvl1pPr>
          </a:lstStyle>
          <a:p>
            <a:fld id="{57691E93-EF64-46CC-85E2-BBB5BEDB9501}" type="datetimeFigureOut">
              <a:rPr lang="en-US" sz="800"/>
              <a:t>8/6/2019</a:t>
            </a:fld>
            <a:endParaRPr lang="en-US" sz="800" dirty="0"/>
          </a:p>
        </p:txBody>
      </p:sp>
      <p:sp>
        <p:nvSpPr>
          <p:cNvPr id="4" name="Footer Placeholder 3"/>
          <p:cNvSpPr>
            <a:spLocks noGrp="1"/>
          </p:cNvSpPr>
          <p:nvPr>
            <p:ph type="ftr" sz="quarter" idx="2"/>
          </p:nvPr>
        </p:nvSpPr>
        <p:spPr>
          <a:xfrm>
            <a:off x="2" y="8772671"/>
            <a:ext cx="3011699" cy="463407"/>
          </a:xfrm>
          <a:prstGeom prst="rect">
            <a:avLst/>
          </a:prstGeom>
        </p:spPr>
        <p:txBody>
          <a:bodyPr vert="horz" lIns="92492" tIns="46246" rIns="92492" bIns="46246" rtlCol="0" anchor="b"/>
          <a:lstStyle>
            <a:lvl1pPr algn="l">
              <a:defRPr sz="1200"/>
            </a:lvl1pPr>
          </a:lstStyle>
          <a:p>
            <a:endParaRPr lang="en-US" sz="800" dirty="0"/>
          </a:p>
        </p:txBody>
      </p:sp>
      <p:sp>
        <p:nvSpPr>
          <p:cNvPr id="5" name="Slide Number Placeholder 4"/>
          <p:cNvSpPr>
            <a:spLocks noGrp="1"/>
          </p:cNvSpPr>
          <p:nvPr>
            <p:ph type="sldNum" sz="quarter" idx="3"/>
          </p:nvPr>
        </p:nvSpPr>
        <p:spPr>
          <a:xfrm>
            <a:off x="3936770" y="8772671"/>
            <a:ext cx="3011699" cy="463407"/>
          </a:xfrm>
          <a:prstGeom prst="rect">
            <a:avLst/>
          </a:prstGeom>
        </p:spPr>
        <p:txBody>
          <a:bodyPr vert="horz" lIns="92492" tIns="46246" rIns="92492" bIns="46246" rtlCol="0" anchor="b"/>
          <a:lstStyle>
            <a:lvl1pPr algn="r">
              <a:defRPr sz="1200"/>
            </a:lvl1pPr>
          </a:lstStyle>
          <a:p>
            <a:fld id="{3DCECA85-2A7A-423F-89EA-6868CB52DF19}" type="slidenum">
              <a:rPr lang="en-US" sz="800"/>
              <a:t>‹#›</a:t>
            </a:fld>
            <a:endParaRPr lang="en-US" sz="800" dirty="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0" y="4410720"/>
            <a:ext cx="6948467" cy="482535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92" tIns="46246" rIns="92492" bIns="46246" rtlCol="0" anchor="ctr"/>
          <a:lstStyle/>
          <a:p>
            <a:pPr algn="ctr"/>
            <a:endParaRPr lang="en-US" dirty="0"/>
          </a:p>
        </p:txBody>
      </p:sp>
      <p:sp>
        <p:nvSpPr>
          <p:cNvPr id="2" name="Header Placeholder 1"/>
          <p:cNvSpPr>
            <a:spLocks noGrp="1"/>
          </p:cNvSpPr>
          <p:nvPr>
            <p:ph type="hdr" sz="quarter"/>
          </p:nvPr>
        </p:nvSpPr>
        <p:spPr>
          <a:xfrm>
            <a:off x="82427" y="3"/>
            <a:ext cx="2929274" cy="463408"/>
          </a:xfrm>
          <a:prstGeom prst="rect">
            <a:avLst/>
          </a:prstGeom>
        </p:spPr>
        <p:txBody>
          <a:bodyPr vert="horz" lIns="92492" tIns="46246" rIns="92492" bIns="46246" rtlCol="0"/>
          <a:lstStyle>
            <a:lvl1pPr algn="l">
              <a:defRPr sz="1400"/>
            </a:lvl1pPr>
          </a:lstStyle>
          <a:p>
            <a:endParaRPr lang="en-US" dirty="0"/>
          </a:p>
        </p:txBody>
      </p:sp>
      <p:sp>
        <p:nvSpPr>
          <p:cNvPr id="4" name="Slide Image Placeholder 3"/>
          <p:cNvSpPr>
            <a:spLocks noGrp="1" noRot="1" noChangeAspect="1"/>
          </p:cNvSpPr>
          <p:nvPr>
            <p:ph type="sldImg" idx="2"/>
          </p:nvPr>
        </p:nvSpPr>
        <p:spPr>
          <a:xfrm>
            <a:off x="156103" y="575009"/>
            <a:ext cx="6620256" cy="3724113"/>
          </a:xfrm>
          <a:prstGeom prst="rect">
            <a:avLst/>
          </a:prstGeom>
          <a:noFill/>
          <a:ln w="9525">
            <a:solidFill>
              <a:schemeClr val="bg2"/>
            </a:solidFill>
          </a:ln>
        </p:spPr>
        <p:txBody>
          <a:bodyPr vert="horz" lIns="92492" tIns="46246" rIns="92492" bIns="46246" rtlCol="0" anchor="ctr"/>
          <a:lstStyle/>
          <a:p>
            <a:endParaRPr lang="en-US" dirty="0"/>
          </a:p>
        </p:txBody>
      </p:sp>
      <p:sp>
        <p:nvSpPr>
          <p:cNvPr id="6" name="Footer Placeholder 5"/>
          <p:cNvSpPr>
            <a:spLocks noGrp="1"/>
          </p:cNvSpPr>
          <p:nvPr>
            <p:ph type="ftr" sz="quarter" idx="4"/>
          </p:nvPr>
        </p:nvSpPr>
        <p:spPr>
          <a:xfrm>
            <a:off x="82427" y="8744096"/>
            <a:ext cx="2929274" cy="463407"/>
          </a:xfrm>
          <a:prstGeom prst="rect">
            <a:avLst/>
          </a:prstGeom>
        </p:spPr>
        <p:txBody>
          <a:bodyPr vert="horz" lIns="92492" tIns="46246" rIns="92492" bIns="46246" rtlCol="0" anchor="b"/>
          <a:lstStyle>
            <a:lvl1pPr algn="l">
              <a:defRPr sz="1400"/>
            </a:lvl1pPr>
          </a:lstStyle>
          <a:p>
            <a:endParaRPr lang="en-US" dirty="0"/>
          </a:p>
        </p:txBody>
      </p:sp>
      <p:sp>
        <p:nvSpPr>
          <p:cNvPr id="7" name="Slide Number Placeholder 6"/>
          <p:cNvSpPr>
            <a:spLocks noGrp="1"/>
          </p:cNvSpPr>
          <p:nvPr>
            <p:ph type="sldNum" sz="quarter" idx="5"/>
          </p:nvPr>
        </p:nvSpPr>
        <p:spPr>
          <a:xfrm>
            <a:off x="3936770" y="8744096"/>
            <a:ext cx="2919957" cy="463407"/>
          </a:xfrm>
          <a:prstGeom prst="rect">
            <a:avLst/>
          </a:prstGeom>
        </p:spPr>
        <p:txBody>
          <a:bodyPr vert="horz" lIns="92492" tIns="46246" rIns="92492" bIns="46246" rtlCol="0" anchor="b"/>
          <a:lstStyle>
            <a:lvl1pPr algn="r">
              <a:defRPr sz="1400"/>
            </a:lvl1pPr>
          </a:lstStyle>
          <a:p>
            <a:r>
              <a:rPr lang="en-US" dirty="0"/>
              <a:t>Notes view: </a:t>
            </a:r>
            <a:fld id="{128CEAFE-FA94-43E5-B0FF-D47E1CCDD1B4}" type="slidenum">
              <a:rPr lang="en-US" smtClean="0"/>
              <a:pPr/>
              <a:t>‹#›</a:t>
            </a:fld>
            <a:endParaRPr lang="en-US" dirty="0"/>
          </a:p>
        </p:txBody>
      </p:sp>
      <p:sp>
        <p:nvSpPr>
          <p:cNvPr id="5" name="Notes Placeholder 4"/>
          <p:cNvSpPr>
            <a:spLocks noGrp="1"/>
          </p:cNvSpPr>
          <p:nvPr>
            <p:ph type="body" sz="quarter" idx="3"/>
          </p:nvPr>
        </p:nvSpPr>
        <p:spPr>
          <a:xfrm>
            <a:off x="259519" y="4714653"/>
            <a:ext cx="6413424" cy="3768947"/>
          </a:xfrm>
          <a:prstGeom prst="rect">
            <a:avLst/>
          </a:prstGeom>
        </p:spPr>
        <p:txBody>
          <a:bodyPr vert="horz" lIns="92492" tIns="46246" rIns="92492" bIns="46246"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Date Placeholder 7"/>
          <p:cNvSpPr>
            <a:spLocks noGrp="1"/>
          </p:cNvSpPr>
          <p:nvPr>
            <p:ph type="dt" idx="1"/>
          </p:nvPr>
        </p:nvSpPr>
        <p:spPr>
          <a:xfrm>
            <a:off x="3937000" y="0"/>
            <a:ext cx="3011488" cy="463550"/>
          </a:xfrm>
          <a:prstGeom prst="rect">
            <a:avLst/>
          </a:prstGeom>
        </p:spPr>
        <p:txBody>
          <a:bodyPr vert="horz" lIns="91440" tIns="45720" rIns="91440" bIns="45720" rtlCol="0"/>
          <a:lstStyle>
            <a:lvl1pPr algn="r">
              <a:defRPr sz="1200"/>
            </a:lvl1pPr>
          </a:lstStyle>
          <a:p>
            <a:fld id="{F2C7CF5F-7CF3-4DF3-838A-EE34544862CC}" type="datetimeFigureOut">
              <a:rPr lang="en-US" smtClean="0"/>
              <a:t>8/6/2019</a:t>
            </a:fld>
            <a:endParaRPr lang="en-US"/>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mod="1">
    <p:ext uri="{620B2872-D7B9-4A21-9093-7833F8D536E1}">
      <p15:sldGuideLst xmlns:p15="http://schemas.microsoft.com/office/powerpoint/2012/main">
        <p15:guide id="1" orient="horz" pos="2910" userDrawn="1">
          <p15:clr>
            <a:srgbClr val="F26B43"/>
          </p15:clr>
        </p15:guide>
        <p15:guide id="2" pos="2189"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3</a:t>
            </a:fld>
            <a:endParaRPr lang="en-US" dirty="0"/>
          </a:p>
        </p:txBody>
      </p:sp>
    </p:spTree>
    <p:extLst>
      <p:ext uri="{BB962C8B-B14F-4D97-AF65-F5344CB8AC3E}">
        <p14:creationId xmlns:p14="http://schemas.microsoft.com/office/powerpoint/2010/main" val="69837623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15</a:t>
            </a:fld>
            <a:endParaRPr lang="en-US" dirty="0"/>
          </a:p>
        </p:txBody>
      </p:sp>
    </p:spTree>
    <p:extLst>
      <p:ext uri="{BB962C8B-B14F-4D97-AF65-F5344CB8AC3E}">
        <p14:creationId xmlns:p14="http://schemas.microsoft.com/office/powerpoint/2010/main" val="73258756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4</a:t>
            </a:fld>
            <a:endParaRPr lang="en-US" dirty="0"/>
          </a:p>
        </p:txBody>
      </p:sp>
    </p:spTree>
    <p:extLst>
      <p:ext uri="{BB962C8B-B14F-4D97-AF65-F5344CB8AC3E}">
        <p14:creationId xmlns:p14="http://schemas.microsoft.com/office/powerpoint/2010/main" val="44020969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5</a:t>
            </a:fld>
            <a:endParaRPr lang="en-US" dirty="0"/>
          </a:p>
        </p:txBody>
      </p:sp>
    </p:spTree>
    <p:extLst>
      <p:ext uri="{BB962C8B-B14F-4D97-AF65-F5344CB8AC3E}">
        <p14:creationId xmlns:p14="http://schemas.microsoft.com/office/powerpoint/2010/main" val="69705250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6</a:t>
            </a:fld>
            <a:endParaRPr lang="en-US" dirty="0"/>
          </a:p>
        </p:txBody>
      </p:sp>
    </p:spTree>
    <p:extLst>
      <p:ext uri="{BB962C8B-B14F-4D97-AF65-F5344CB8AC3E}">
        <p14:creationId xmlns:p14="http://schemas.microsoft.com/office/powerpoint/2010/main" val="382807153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8</a:t>
            </a:fld>
            <a:endParaRPr lang="en-US" dirty="0"/>
          </a:p>
        </p:txBody>
      </p:sp>
    </p:spTree>
    <p:extLst>
      <p:ext uri="{BB962C8B-B14F-4D97-AF65-F5344CB8AC3E}">
        <p14:creationId xmlns:p14="http://schemas.microsoft.com/office/powerpoint/2010/main" val="247123706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9</a:t>
            </a:fld>
            <a:endParaRPr lang="en-US" dirty="0"/>
          </a:p>
        </p:txBody>
      </p:sp>
    </p:spTree>
    <p:extLst>
      <p:ext uri="{BB962C8B-B14F-4D97-AF65-F5344CB8AC3E}">
        <p14:creationId xmlns:p14="http://schemas.microsoft.com/office/powerpoint/2010/main" val="420572976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11</a:t>
            </a:fld>
            <a:endParaRPr lang="en-US" dirty="0"/>
          </a:p>
        </p:txBody>
      </p:sp>
    </p:spTree>
    <p:extLst>
      <p:ext uri="{BB962C8B-B14F-4D97-AF65-F5344CB8AC3E}">
        <p14:creationId xmlns:p14="http://schemas.microsoft.com/office/powerpoint/2010/main" val="219756368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12</a:t>
            </a:fld>
            <a:endParaRPr lang="en-US" dirty="0"/>
          </a:p>
        </p:txBody>
      </p:sp>
    </p:spTree>
    <p:extLst>
      <p:ext uri="{BB962C8B-B14F-4D97-AF65-F5344CB8AC3E}">
        <p14:creationId xmlns:p14="http://schemas.microsoft.com/office/powerpoint/2010/main" val="268695631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14</a:t>
            </a:fld>
            <a:endParaRPr lang="en-US" dirty="0"/>
          </a:p>
        </p:txBody>
      </p:sp>
    </p:spTree>
    <p:extLst>
      <p:ext uri="{BB962C8B-B14F-4D97-AF65-F5344CB8AC3E}">
        <p14:creationId xmlns:p14="http://schemas.microsoft.com/office/powerpoint/2010/main" val="538858065"/>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4.xml"/><Relationship Id="rId7" Type="http://schemas.openxmlformats.org/officeDocument/2006/relationships/oleObject" Target="../embeddings/oleObject2.bin"/><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slideMaster" Target="../slideMasters/slideMaster1.xml"/><Relationship Id="rId5" Type="http://schemas.openxmlformats.org/officeDocument/2006/relationships/tags" Target="../tags/tag6.xml"/><Relationship Id="rId10" Type="http://schemas.openxmlformats.org/officeDocument/2006/relationships/image" Target="../media/image4.jpg"/><Relationship Id="rId4" Type="http://schemas.openxmlformats.org/officeDocument/2006/relationships/tags" Target="../tags/tag5.xml"/><Relationship Id="rId9"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18.xml"/><Relationship Id="rId7" Type="http://schemas.openxmlformats.org/officeDocument/2006/relationships/image" Target="../media/image8.png"/><Relationship Id="rId2" Type="http://schemas.openxmlformats.org/officeDocument/2006/relationships/tags" Target="../tags/tag17.xml"/><Relationship Id="rId1" Type="http://schemas.openxmlformats.org/officeDocument/2006/relationships/vmlDrawing" Target="../drawings/vmlDrawing3.vml"/><Relationship Id="rId6" Type="http://schemas.openxmlformats.org/officeDocument/2006/relationships/image" Target="../media/image7.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20.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2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2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23.xml"/></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4.xml"/></Relationships>
</file>

<file path=ppt/slideLayouts/_rels/slideLayout2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5.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vmlDrawing" Target="../drawings/vmlDrawing4.vml"/><Relationship Id="rId6" Type="http://schemas.openxmlformats.org/officeDocument/2006/relationships/image" Target="../media/image9.png"/><Relationship Id="rId5" Type="http://schemas.openxmlformats.org/officeDocument/2006/relationships/image" Target="../media/image7.emf"/><Relationship Id="rId4" Type="http://schemas.openxmlformats.org/officeDocument/2006/relationships/oleObject" Target="../embeddings/oleObject4.bin"/></Relationships>
</file>

<file path=ppt/slideLayouts/_rels/slideLayout2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7.xml"/></Relationships>
</file>

<file path=ppt/slideLayouts/_rels/slideLayout2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8.xml"/></Relationships>
</file>

<file path=ppt/slideLayouts/_rels/slideLayout2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9.xml"/></Relationships>
</file>

<file path=ppt/slideLayouts/_rels/slideLayout2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0.xml"/></Relationships>
</file>

<file path=ppt/slideLayouts/_rels/slideLayout27.xml.rels><?xml version="1.0" encoding="UTF-8" standalone="yes"?>
<Relationships xmlns="http://schemas.openxmlformats.org/package/2006/relationships"><Relationship Id="rId8" Type="http://schemas.openxmlformats.org/officeDocument/2006/relationships/image" Target="../media/image4.jpg"/><Relationship Id="rId3" Type="http://schemas.openxmlformats.org/officeDocument/2006/relationships/tags" Target="../tags/tag32.xml"/><Relationship Id="rId7" Type="http://schemas.openxmlformats.org/officeDocument/2006/relationships/image" Target="../media/image2.emf"/><Relationship Id="rId2" Type="http://schemas.openxmlformats.org/officeDocument/2006/relationships/tags" Target="../tags/tag31.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slideMaster" Target="../slideMasters/slideMaster1.xml"/><Relationship Id="rId4" Type="http://schemas.openxmlformats.org/officeDocument/2006/relationships/tags" Target="../tags/tag33.xml"/></Relationships>
</file>

<file path=ppt/slideLayouts/_rels/slideLayout2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36.xml"/><Relationship Id="rId7" Type="http://schemas.openxmlformats.org/officeDocument/2006/relationships/oleObject" Target="../embeddings/oleObject6.bin"/><Relationship Id="rId2" Type="http://schemas.openxmlformats.org/officeDocument/2006/relationships/tags" Target="../tags/tag35.xml"/><Relationship Id="rId1" Type="http://schemas.openxmlformats.org/officeDocument/2006/relationships/vmlDrawing" Target="../drawings/vmlDrawing6.vml"/><Relationship Id="rId6" Type="http://schemas.openxmlformats.org/officeDocument/2006/relationships/slideMaster" Target="../slideMasters/slideMaster1.xml"/><Relationship Id="rId5" Type="http://schemas.openxmlformats.org/officeDocument/2006/relationships/tags" Target="../tags/tag38.xml"/><Relationship Id="rId10" Type="http://schemas.openxmlformats.org/officeDocument/2006/relationships/image" Target="../media/image4.jpg"/><Relationship Id="rId4" Type="http://schemas.openxmlformats.org/officeDocument/2006/relationships/tags" Target="../tags/tag37.xml"/><Relationship Id="rId9" Type="http://schemas.openxmlformats.org/officeDocument/2006/relationships/image" Target="../media/image3.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9.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0.xml"/></Relationships>
</file>

<file path=ppt/slideLayouts/_rels/slideLayout3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3.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4.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5.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6.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7.xml"/></Relationships>
</file>

<file path=ppt/slideLayouts/_rels/slideLayout41.xml.rels><?xml version="1.0" encoding="UTF-8" standalone="yes"?>
<Relationships xmlns="http://schemas.openxmlformats.org/package/2006/relationships"><Relationship Id="rId3" Type="http://schemas.openxmlformats.org/officeDocument/2006/relationships/tags" Target="../tags/tag49.xml"/><Relationship Id="rId7" Type="http://schemas.openxmlformats.org/officeDocument/2006/relationships/image" Target="../media/image5.png"/><Relationship Id="rId2" Type="http://schemas.openxmlformats.org/officeDocument/2006/relationships/tags" Target="../tags/tag48.xml"/><Relationship Id="rId1" Type="http://schemas.openxmlformats.org/officeDocument/2006/relationships/vmlDrawing" Target="../drawings/vmlDrawing7.vml"/><Relationship Id="rId6" Type="http://schemas.openxmlformats.org/officeDocument/2006/relationships/image" Target="../media/image7.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0.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51.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53.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4.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55.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6.xml"/></Relationships>
</file>

<file path=ppt/slideLayouts/_rels/slideLayout4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7.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5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8.xml"/></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9.xml"/><Relationship Id="rId1" Type="http://schemas.openxmlformats.org/officeDocument/2006/relationships/vmlDrawing" Target="../drawings/vmlDrawing8.vml"/><Relationship Id="rId6" Type="http://schemas.openxmlformats.org/officeDocument/2006/relationships/image" Target="../media/image9.png"/><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5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0.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61.xml"/></Relationships>
</file>

<file path=ppt/slideLayouts/_rels/slideLayout5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2.xml"/></Relationships>
</file>

<file path=ppt/slideLayouts/_rels/slideLayout5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3.xml"/></Relationships>
</file>

<file path=ppt/slideLayouts/_rels/slideLayout5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4.xml"/></Relationships>
</file>

<file path=ppt/slideLayouts/_rels/slideLayout57.xml.rels><?xml version="1.0" encoding="UTF-8" standalone="yes"?>
<Relationships xmlns="http://schemas.openxmlformats.org/package/2006/relationships"><Relationship Id="rId8" Type="http://schemas.openxmlformats.org/officeDocument/2006/relationships/image" Target="../media/image4.jpg"/><Relationship Id="rId3" Type="http://schemas.openxmlformats.org/officeDocument/2006/relationships/tags" Target="../tags/tag66.xml"/><Relationship Id="rId7" Type="http://schemas.openxmlformats.org/officeDocument/2006/relationships/image" Target="../media/image2.emf"/><Relationship Id="rId2" Type="http://schemas.openxmlformats.org/officeDocument/2006/relationships/tags" Target="../tags/tag65.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slideMaster" Target="../slideMasters/slideMaster1.xml"/><Relationship Id="rId4" Type="http://schemas.openxmlformats.org/officeDocument/2006/relationships/tags" Target="../tags/tag67.xml"/></Relationships>
</file>

<file path=ppt/slideLayouts/_rels/slideLayout5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8.xml"/></Relationships>
</file>

<file path=ppt/slideLayouts/_rels/slideLayout59.xml.rels><?xml version="1.0" encoding="UTF-8" standalone="yes"?>
<Relationships xmlns="http://schemas.openxmlformats.org/package/2006/relationships"><Relationship Id="rId3" Type="http://schemas.openxmlformats.org/officeDocument/2006/relationships/tags" Target="../tags/tag70.xml"/><Relationship Id="rId2" Type="http://schemas.openxmlformats.org/officeDocument/2006/relationships/tags" Target="../tags/tag69.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1.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2.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62.xml.rels><?xml version="1.0" encoding="UTF-8" standalone="yes"?>
<Relationships xmlns="http://schemas.openxmlformats.org/package/2006/relationships"><Relationship Id="rId3" Type="http://schemas.openxmlformats.org/officeDocument/2006/relationships/tags" Target="../tags/tag74.xml"/><Relationship Id="rId7" Type="http://schemas.openxmlformats.org/officeDocument/2006/relationships/image" Target="../media/image3.png"/><Relationship Id="rId2" Type="http://schemas.openxmlformats.org/officeDocument/2006/relationships/tags" Target="../tags/tag73.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3" Type="http://schemas.openxmlformats.org/officeDocument/2006/relationships/tags" Target="../tags/tag76.xml"/><Relationship Id="rId2" Type="http://schemas.openxmlformats.org/officeDocument/2006/relationships/tags" Target="../tags/tag75.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7.xml"/><Relationship Id="rId1" Type="http://schemas.openxmlformats.org/officeDocument/2006/relationships/vmlDrawing" Target="../drawings/vmlDrawing15.vml"/><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8.xml"/><Relationship Id="rId1" Type="http://schemas.openxmlformats.org/officeDocument/2006/relationships/vmlDrawing" Target="../drawings/vmlDrawing16.vml"/><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66.xml.rels><?xml version="1.0" encoding="UTF-8" standalone="yes"?>
<Relationships xmlns="http://schemas.openxmlformats.org/package/2006/relationships"><Relationship Id="rId3" Type="http://schemas.openxmlformats.org/officeDocument/2006/relationships/tags" Target="../tags/tag80.xml"/><Relationship Id="rId7" Type="http://schemas.openxmlformats.org/officeDocument/2006/relationships/image" Target="../media/image3.png"/><Relationship Id="rId2" Type="http://schemas.openxmlformats.org/officeDocument/2006/relationships/tags" Target="../tags/tag79.xml"/><Relationship Id="rId1" Type="http://schemas.openxmlformats.org/officeDocument/2006/relationships/vmlDrawing" Target="../drawings/vmlDrawing17.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1.xml"/><Relationship Id="rId1" Type="http://schemas.openxmlformats.org/officeDocument/2006/relationships/vmlDrawing" Target="../drawings/vmlDrawing18.v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985612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212" name="think-cell Slide" r:id="rId7" imgW="384" imgH="384" progId="TCLayout.ActiveDocument.1">
                  <p:embed/>
                </p:oleObj>
              </mc:Choice>
              <mc:Fallback>
                <p:oleObj name="think-cell Slide" r:id="rId7" imgW="384" imgH="384"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9">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4"/>
            </p:custDataLst>
          </p:nvPr>
        </p:nvPicPr>
        <p:blipFill rotWithShape="1">
          <a:blip r:embed="rId10">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Title in Title Case</a:t>
            </a:r>
          </a:p>
        </p:txBody>
      </p:sp>
      <p:sp>
        <p:nvSpPr>
          <p:cNvPr id="33" name="Freeform 32"/>
          <p:cNvSpPr>
            <a:spLocks noChangeAspect="1"/>
          </p:cNvSpPr>
          <p:nvPr userDrawn="1">
            <p:custDataLst>
              <p:tags r:id="rId5"/>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15151835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235241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Copyright"/>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6328090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Machine Learning Project.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72577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6791741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3252687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6174" name="think-cell Slide" r:id="rId5" imgW="324" imgH="324" progId="TCLayout.ActiveDocument.1">
                  <p:embed/>
                </p:oleObj>
              </mc:Choice>
              <mc:Fallback>
                <p:oleObj name="think-cell Slide" r:id="rId5" imgW="324" imgH="32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Machine Learning Project.pptx</a:t>
            </a:r>
            <a:endParaRPr lang="en-US" sz="700" dirty="0">
              <a:solidFill>
                <a:schemeClr val="bg1"/>
              </a:solidFill>
              <a:latin typeface="+mn-lt"/>
              <a:sym typeface="Trebuchet MS" panose="020B0603020202020204" pitchFamily="34" charset="0"/>
            </a:endParaRPr>
          </a:p>
        </p:txBody>
      </p:sp>
      <p:pic>
        <p:nvPicPr>
          <p:cNvPr id="15" name="Picture 14"/>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92082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9741921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Machine Learning Project.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928717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mod="1">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4380786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mod="1">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Machine Learning Project.pptx</a:t>
            </a:r>
            <a:endParaRPr lang="en-US" sz="700" dirty="0">
              <a:solidFill>
                <a:schemeClr val="bg1"/>
              </a:solidFill>
              <a:latin typeface="+mn-lt"/>
              <a:sym typeface="Trebuchet MS" panose="020B0603020202020204" pitchFamily="34" charset="0"/>
            </a:endParaRPr>
          </a:p>
        </p:txBody>
      </p:sp>
      <p:pic>
        <p:nvPicPr>
          <p:cNvPr id="16" name="Picture 15"/>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002801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3698657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16573120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Machine Learning Project.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705580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3796626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8426197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8221" name="think-cell Slide" r:id="rId4" imgW="324" imgH="324" progId="TCLayout.ActiveDocument.1">
                  <p:embed/>
                </p:oleObj>
              </mc:Choice>
              <mc:Fallback>
                <p:oleObj name="think-cell Slide" r:id="rId4" imgW="324" imgH="32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12021792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Machine Learning Project.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8300739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142520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Machine Learning Project.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9023109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8249069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7353693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0194"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3"/>
            </p:custDataLst>
          </p:nvPr>
        </p:nvPicPr>
        <p:blipFill>
          <a:blip r:embed="rId8">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7" name="Freeform 6"/>
          <p:cNvSpPr>
            <a:spLocks noChangeAspect="1"/>
          </p:cNvSpPr>
          <p:nvPr userDrawn="1">
            <p:custDataLst>
              <p:tags r:id="rId4"/>
            </p:custDataLst>
          </p:nvPr>
        </p:nvSpPr>
        <p:spPr bwMode="auto">
          <a:xfrm>
            <a:off x="2676858"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36612475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6959937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66548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3236" name="think-cell Slide" r:id="rId7" imgW="384" imgH="384" progId="TCLayout.ActiveDocument.1">
                  <p:embed/>
                </p:oleObj>
              </mc:Choice>
              <mc:Fallback>
                <p:oleObj name="think-cell Slide" r:id="rId7" imgW="384" imgH="384"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9">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4"/>
            </p:custDataLst>
          </p:nvPr>
        </p:nvPicPr>
        <p:blipFill rotWithShape="1">
          <a:blip r:embed="rId10">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p:spPr>
        <p:txBody>
          <a:bodyPr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dirty="0"/>
              <a:t>Title in Title Case</a:t>
            </a:r>
          </a:p>
        </p:txBody>
      </p:sp>
      <p:sp>
        <p:nvSpPr>
          <p:cNvPr id="13" name="Freeform 12"/>
          <p:cNvSpPr>
            <a:spLocks noChangeAspect="1"/>
          </p:cNvSpPr>
          <p:nvPr userDrawn="1">
            <p:custDataLst>
              <p:tags r:id="rId5"/>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mod="1">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a:lstStyle>
            <a:lvl1pPr>
              <a:defRPr sz="3400"/>
            </a:lvl1pPr>
          </a:lstStyle>
          <a:p>
            <a:r>
              <a:rPr lang="en-US" dirty="0"/>
              <a:t>Click to add title</a:t>
            </a:r>
          </a:p>
        </p:txBody>
      </p:sp>
      <p:sp>
        <p:nvSpPr>
          <p:cNvPr id="8" name="Text Placeholder 7">
            <a:extLst>
              <a:ext uri="{FF2B5EF4-FFF2-40B4-BE49-F238E27FC236}">
                <a16:creationId xmlns=""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7300034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2206985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mod="1">
    <p:ext uri="{DCECCB84-F9BA-43D5-87BE-67443E8EF086}">
      <p15:sldGuideLst xmlns:p15="http://schemas.microsoft.com/office/powerpoint/2012/main">
        <p15:guide id="1" orient="horz" pos="4320"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AB083126-25E7-42D8-B799-608CFD4DF6C3}"/>
              </a:ext>
            </a:extLst>
          </p:cNvPr>
          <p:cNvSpPr>
            <a:spLocks noGrp="1"/>
          </p:cNvSpPr>
          <p:nvPr>
            <p:ph type="title" hasCustomPrompt="1"/>
          </p:nvPr>
        </p:nvSpPr>
        <p:spPr/>
        <p:txBody>
          <a:bodyPr/>
          <a:lstStyle/>
          <a:p>
            <a:r>
              <a:rPr lang="en-US" dirty="0"/>
              <a:t>Click to add title</a:t>
            </a:r>
          </a:p>
        </p:txBody>
      </p:sp>
      <p:sp>
        <p:nvSpPr>
          <p:cNvPr id="6" name="Text Placeholder 5">
            <a:extLst>
              <a:ext uri="{FF2B5EF4-FFF2-40B4-BE49-F238E27FC236}">
                <a16:creationId xmlns=""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4043400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9007530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mod="1">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8199047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05239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Machine Learning Project.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5223664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Machine Learning Project.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4829456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Machine Learning Project.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793922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604520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301659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0527104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2905789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2795716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7198" name="think-cell Slide" r:id="rId5" imgW="324" imgH="324" progId="TCLayout.ActiveDocument.1">
                  <p:embed/>
                </p:oleObj>
              </mc:Choice>
              <mc:Fallback>
                <p:oleObj name="think-cell Slide" r:id="rId5" imgW="324" imgH="32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Machine Learning Project.pptx</a:t>
            </a:r>
            <a:endParaRPr lang="en-US" sz="700" dirty="0">
              <a:solidFill>
                <a:schemeClr val="bg1"/>
              </a:solidFill>
              <a:latin typeface="+mn-lt"/>
              <a:sym typeface="Trebuchet MS" panose="020B0603020202020204" pitchFamily="34" charset="0"/>
            </a:endParaRPr>
          </a:p>
        </p:txBody>
      </p:sp>
      <p:pic>
        <p:nvPicPr>
          <p:cNvPr id="12" name="Picture 11"/>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42321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9979161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Machine Learning Project.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376992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5893568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Machine Learning Project.pptx</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98095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9690273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Machine Learning Project.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683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9849398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Machine Learning Project.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5850758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Machine Learning Project.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7123234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9361921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0665806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9243" name="think-cell Slide" r:id="rId4" imgW="384" imgH="384" progId="TCLayout.ActiveDocument.1">
                  <p:embed/>
                </p:oleObj>
              </mc:Choice>
              <mc:Fallback>
                <p:oleObj name="think-cell Slide" r:id="rId4" imgW="384" imgH="38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37419413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Machine Learning Project.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5483755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Machine Learning Project.pptx</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39090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Machine Learning Project.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6408276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5711853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4132211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875382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1216"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3"/>
            </p:custDataLst>
          </p:nvPr>
        </p:nvPicPr>
        <p:blipFill>
          <a:blip r:embed="rId8">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10" name="Freeform 9"/>
          <p:cNvSpPr>
            <a:spLocks noChangeAspect="1"/>
          </p:cNvSpPr>
          <p:nvPr userDrawn="1">
            <p:custDataLst>
              <p:tags r:id="rId4"/>
            </p:custDataLst>
          </p:nvPr>
        </p:nvSpPr>
        <p:spPr bwMode="auto">
          <a:xfrm>
            <a:off x="2676857"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23516218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8187540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5953"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solidFill>
                <a:latin typeface="Trebuchet MS" panose="020B0603020202020204" pitchFamily="34" charset="0"/>
                <a:sym typeface="Trebuchet MS" panose="020B0603020202020204" pitchFamily="34" charset="0"/>
              </a:rPr>
              <a:t>Copyright © 2019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2" name="Rectangle 11"/>
          <p:cNvSpPr/>
          <p:nvPr userDrawn="1">
            <p:custDataLst>
              <p:tags r:id="rId3"/>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j-lt"/>
              </a:rPr>
              <a:t>Agenda</a:t>
            </a:r>
          </a:p>
        </p:txBody>
      </p:sp>
    </p:spTree>
    <p:extLst>
      <p:ext uri="{BB962C8B-B14F-4D97-AF65-F5344CB8AC3E}">
        <p14:creationId xmlns:p14="http://schemas.microsoft.com/office/powerpoint/2010/main" val="25703140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05058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9634920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6977"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solidFill>
                <a:latin typeface="Trebuchet MS" panose="020B0603020202020204" pitchFamily="34" charset="0"/>
                <a:sym typeface="Trebuchet MS" panose="020B0603020202020204" pitchFamily="34" charset="0"/>
              </a:rPr>
              <a:t>Copyright © 2019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729285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8001"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solidFill>
                <a:latin typeface="Trebuchet MS" panose="020B0603020202020204" pitchFamily="34" charset="0"/>
                <a:sym typeface="Trebuchet MS" panose="020B0603020202020204" pitchFamily="34" charset="0"/>
              </a:rPr>
              <a:t>Copyright © 2019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160771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9025"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schemeClr val="bg1"/>
                </a:solidFill>
              </a:rPr>
              <a:t>Agenda</a:t>
            </a:r>
          </a:p>
        </p:txBody>
      </p:sp>
    </p:spTree>
    <p:extLst>
      <p:ext uri="{BB962C8B-B14F-4D97-AF65-F5344CB8AC3E}">
        <p14:creationId xmlns:p14="http://schemas.microsoft.com/office/powerpoint/2010/main" val="22701909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0049"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Trebuchet MS" panose="020B0603020202020204" pitchFamily="34" charset="0"/>
                <a:sym typeface="Trebuchet MS" panose="020B0603020202020204" pitchFamily="34" charset="0"/>
              </a:rPr>
              <a:t>Copyright © 2019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0" name="Rectangle 9"/>
          <p:cNvSpPr/>
          <p:nvPr userDrawn="1">
            <p:custDataLst>
              <p:tags r:id="rId3"/>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t>Agenda</a:t>
            </a:r>
          </a:p>
        </p:txBody>
      </p:sp>
    </p:spTree>
    <p:extLst>
      <p:ext uri="{BB962C8B-B14F-4D97-AF65-F5344CB8AC3E}">
        <p14:creationId xmlns:p14="http://schemas.microsoft.com/office/powerpoint/2010/main" val="18655767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4400617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073"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Trebuchet MS" panose="020B0603020202020204" pitchFamily="34" charset="0"/>
                <a:sym typeface="Trebuchet MS" panose="020B0603020202020204" pitchFamily="34" charset="0"/>
              </a:rPr>
              <a:t>Copyright © 2019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2061407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097"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Trebuchet MS" panose="020B0603020202020204" pitchFamily="34" charset="0"/>
                <a:sym typeface="Trebuchet MS" panose="020B0603020202020204" pitchFamily="34" charset="0"/>
              </a:rPr>
              <a:t>Copyright © 2019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accent4"/>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43396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3121"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rPr>
              <a:t>Agenda</a:t>
            </a:r>
          </a:p>
        </p:txBody>
      </p:sp>
    </p:spTree>
    <p:extLst>
      <p:ext uri="{BB962C8B-B14F-4D97-AF65-F5344CB8AC3E}">
        <p14:creationId xmlns:p14="http://schemas.microsoft.com/office/powerpoint/2010/main" val="17847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4145"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Trebuchet MS" panose="020B0603020202020204" pitchFamily="34" charset="0"/>
                <a:sym typeface="Trebuchet MS" panose="020B0603020202020204" pitchFamily="34" charset="0"/>
              </a:rPr>
              <a:t>Table of contents</a:t>
            </a: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solidFill>
                <a:latin typeface="Trebuchet MS" panose="020B0603020202020204" pitchFamily="34" charset="0"/>
                <a:sym typeface="Trebuchet MS" panose="020B0603020202020204" pitchFamily="34" charset="0"/>
              </a:rPr>
              <a:t>Copyright © 2019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336578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dirty="0"/>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Machine Learning Project.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884277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Machine Learning Project.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5922638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6514967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63" Type="http://schemas.openxmlformats.org/officeDocument/2006/relationships/slideLayout" Target="../slideLayouts/slideLayout63.xml"/><Relationship Id="rId68" Type="http://schemas.openxmlformats.org/officeDocument/2006/relationships/theme" Target="../theme/theme1.xml"/><Relationship Id="rId7" Type="http://schemas.openxmlformats.org/officeDocument/2006/relationships/slideLayout" Target="../slideLayouts/slideLayout7.xml"/><Relationship Id="rId71"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61" Type="http://schemas.openxmlformats.org/officeDocument/2006/relationships/slideLayout" Target="../slideLayouts/slideLayout6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vmlDrawing" Target="../drawings/vmlDrawing1.v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image" Target="../media/image1.emf"/><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0"/>
            </p:custDataLst>
            <p:extLst>
              <p:ext uri="{D42A27DB-BD31-4B8C-83A1-F6EECF244321}">
                <p14:modId xmlns:p14="http://schemas.microsoft.com/office/powerpoint/2010/main" val="11941417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96" name="think-cell Slide" r:id="rId71" imgW="270" imgH="270" progId="TCLayout.ActiveDocument.1">
                  <p:embed/>
                </p:oleObj>
              </mc:Choice>
              <mc:Fallback>
                <p:oleObj name="think-cell Slide" r:id="rId71" imgW="270" imgH="270" progId="TCLayout.ActiveDocument.1">
                  <p:embed/>
                  <p:pic>
                    <p:nvPicPr>
                      <p:cNvPr id="0" name=""/>
                      <p:cNvPicPr/>
                      <p:nvPr/>
                    </p:nvPicPr>
                    <p:blipFill>
                      <a:blip r:embed="rId72"/>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835336367"/>
      </p:ext>
    </p:extLst>
  </p:cSld>
  <p:clrMap bg1="lt1" tx1="dk1" bg2="lt2" tx2="dk2" accent1="accent1" accent2="accent2" accent3="accent3" accent4="accent4" accent5="accent5" accent6="accent6" hlink="hlink" folHlink="folHlink"/>
  <p:sldLayoutIdLst>
    <p:sldLayoutId id="2147485115" r:id="rId1"/>
    <p:sldLayoutId id="2147485086" r:id="rId2"/>
    <p:sldLayoutId id="2147485183" r:id="rId3"/>
    <p:sldLayoutId id="2147485158" r:id="rId4"/>
    <p:sldLayoutId id="2147485113" r:id="rId5"/>
    <p:sldLayoutId id="2147485114" r:id="rId6"/>
    <p:sldLayoutId id="2147485154" r:id="rId7"/>
    <p:sldLayoutId id="2147485162" r:id="rId8"/>
    <p:sldLayoutId id="2147485149" r:id="rId9"/>
    <p:sldLayoutId id="2147485087" r:id="rId10"/>
    <p:sldLayoutId id="2147485112" r:id="rId11"/>
    <p:sldLayoutId id="2147485155" r:id="rId12"/>
    <p:sldLayoutId id="2147485164" r:id="rId13"/>
    <p:sldLayoutId id="2147485109" r:id="rId14"/>
    <p:sldLayoutId id="2147485165" r:id="rId15"/>
    <p:sldLayoutId id="2147485110" r:id="rId16"/>
    <p:sldLayoutId id="2147485166" r:id="rId17"/>
    <p:sldLayoutId id="2147485156" r:id="rId18"/>
    <p:sldLayoutId id="2147485167" r:id="rId19"/>
    <p:sldLayoutId id="2147485108" r:id="rId20"/>
    <p:sldLayoutId id="2147485107" r:id="rId21"/>
    <p:sldLayoutId id="2147485106" r:id="rId22"/>
    <p:sldLayoutId id="2147485090" r:id="rId23"/>
    <p:sldLayoutId id="2147485091" r:id="rId24"/>
    <p:sldLayoutId id="2147485092" r:id="rId25"/>
    <p:sldLayoutId id="2147485093" r:id="rId26"/>
    <p:sldLayoutId id="2147485116" r:id="rId27"/>
    <p:sldLayoutId id="2147485161" r:id="rId28"/>
    <p:sldLayoutId id="2147485159" r:id="rId29"/>
    <p:sldLayoutId id="2147485119" r:id="rId30"/>
    <p:sldLayoutId id="2147485184" r:id="rId31"/>
    <p:sldLayoutId id="2147485137" r:id="rId32"/>
    <p:sldLayoutId id="2147485120" r:id="rId33"/>
    <p:sldLayoutId id="2147485121" r:id="rId34"/>
    <p:sldLayoutId id="2147485141" r:id="rId35"/>
    <p:sldLayoutId id="2147485163" r:id="rId36"/>
    <p:sldLayoutId id="2147485139" r:id="rId37"/>
    <p:sldLayoutId id="2147485140" r:id="rId38"/>
    <p:sldLayoutId id="2147485122" r:id="rId39"/>
    <p:sldLayoutId id="2147485123" r:id="rId40"/>
    <p:sldLayoutId id="2147485151" r:id="rId41"/>
    <p:sldLayoutId id="2147485168" r:id="rId42"/>
    <p:sldLayoutId id="2147485127" r:id="rId43"/>
    <p:sldLayoutId id="2147485169" r:id="rId44"/>
    <p:sldLayoutId id="2147485126" r:id="rId45"/>
    <p:sldLayoutId id="2147485170" r:id="rId46"/>
    <p:sldLayoutId id="2147485153" r:id="rId47"/>
    <p:sldLayoutId id="2147485171" r:id="rId48"/>
    <p:sldLayoutId id="2147485128" r:id="rId49"/>
    <p:sldLayoutId id="2147485129" r:id="rId50"/>
    <p:sldLayoutId id="2147485130" r:id="rId51"/>
    <p:sldLayoutId id="2147485131" r:id="rId52"/>
    <p:sldLayoutId id="2147485145" r:id="rId53"/>
    <p:sldLayoutId id="2147485133" r:id="rId54"/>
    <p:sldLayoutId id="2147485144" r:id="rId55"/>
    <p:sldLayoutId id="2147485134" r:id="rId56"/>
    <p:sldLayoutId id="2147485146" r:id="rId57"/>
    <p:sldLayoutId id="2147485160" r:id="rId58"/>
    <p:sldLayoutId id="2147485172" r:id="rId59"/>
    <p:sldLayoutId id="2147485173" r:id="rId60"/>
    <p:sldLayoutId id="2147485174" r:id="rId61"/>
    <p:sldLayoutId id="2147485175" r:id="rId62"/>
    <p:sldLayoutId id="2147485176" r:id="rId63"/>
    <p:sldLayoutId id="2147485177" r:id="rId64"/>
    <p:sldLayoutId id="2147485178" r:id="rId65"/>
    <p:sldLayoutId id="2147485179" r:id="rId66"/>
    <p:sldLayoutId id="2147485180" r:id="rId67"/>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311" userDrawn="1">
          <p15:clr>
            <a:srgbClr val="F26B43"/>
          </p15:clr>
        </p15:guide>
        <p15:guide id="2" pos="396" userDrawn="1">
          <p15:clr>
            <a:srgbClr val="F26B43"/>
          </p15:clr>
        </p15:guide>
        <p15:guide id="3" pos="7284" userDrawn="1">
          <p15:clr>
            <a:srgbClr val="F26B43"/>
          </p15:clr>
        </p15:guide>
        <p15:guide id="4" orient="horz" pos="3881"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tags" Target="../tags/tag83.xml"/><Relationship Id="rId2" Type="http://schemas.openxmlformats.org/officeDocument/2006/relationships/tags" Target="../tags/tag82.xml"/><Relationship Id="rId1" Type="http://schemas.openxmlformats.org/officeDocument/2006/relationships/vmlDrawing" Target="../drawings/vmlDrawing19.vml"/><Relationship Id="rId6" Type="http://schemas.openxmlformats.org/officeDocument/2006/relationships/image" Target="../media/image10.emf"/><Relationship Id="rId5" Type="http://schemas.openxmlformats.org/officeDocument/2006/relationships/oleObject" Target="../embeddings/oleObject19.bin"/><Relationship Id="rId4" Type="http://schemas.openxmlformats.org/officeDocument/2006/relationships/slideLayout" Target="../slideLayouts/slideLayout20.xml"/></Relationships>
</file>

<file path=ppt/slides/_rels/slide10.xml.rels><?xml version="1.0" encoding="UTF-8" standalone="yes"?>
<Relationships xmlns="http://schemas.openxmlformats.org/package/2006/relationships"><Relationship Id="rId3" Type="http://schemas.openxmlformats.org/officeDocument/2006/relationships/tags" Target="../tags/tag97.xml"/><Relationship Id="rId7" Type="http://schemas.openxmlformats.org/officeDocument/2006/relationships/image" Target="../media/image10.emf"/><Relationship Id="rId2" Type="http://schemas.openxmlformats.org/officeDocument/2006/relationships/tags" Target="../tags/tag96.xml"/><Relationship Id="rId1" Type="http://schemas.openxmlformats.org/officeDocument/2006/relationships/vmlDrawing" Target="../drawings/vmlDrawing28.vml"/><Relationship Id="rId6" Type="http://schemas.openxmlformats.org/officeDocument/2006/relationships/oleObject" Target="../embeddings/oleObject28.bin"/><Relationship Id="rId5" Type="http://schemas.openxmlformats.org/officeDocument/2006/relationships/notesSlide" Target="../notesSlides/notesSlide6.xml"/><Relationship Id="rId4"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tags" Target="../tags/tag99.xml"/><Relationship Id="rId2" Type="http://schemas.openxmlformats.org/officeDocument/2006/relationships/tags" Target="../tags/tag98.xml"/><Relationship Id="rId1" Type="http://schemas.openxmlformats.org/officeDocument/2006/relationships/vmlDrawing" Target="../drawings/vmlDrawing29.vml"/><Relationship Id="rId6" Type="http://schemas.openxmlformats.org/officeDocument/2006/relationships/image" Target="../media/image10.emf"/><Relationship Id="rId5" Type="http://schemas.openxmlformats.org/officeDocument/2006/relationships/oleObject" Target="../embeddings/oleObject29.bin"/><Relationship Id="rId4"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3" Type="http://schemas.openxmlformats.org/officeDocument/2006/relationships/tags" Target="../tags/tag101.xml"/><Relationship Id="rId7" Type="http://schemas.openxmlformats.org/officeDocument/2006/relationships/image" Target="../media/image10.emf"/><Relationship Id="rId2" Type="http://schemas.openxmlformats.org/officeDocument/2006/relationships/tags" Target="../tags/tag100.xml"/><Relationship Id="rId1" Type="http://schemas.openxmlformats.org/officeDocument/2006/relationships/vmlDrawing" Target="../drawings/vmlDrawing30.vml"/><Relationship Id="rId6" Type="http://schemas.openxmlformats.org/officeDocument/2006/relationships/oleObject" Target="../embeddings/oleObject30.bin"/><Relationship Id="rId5" Type="http://schemas.openxmlformats.org/officeDocument/2006/relationships/notesSlide" Target="../notesSlides/notesSlide7.xml"/><Relationship Id="rId4"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tags" Target="../tags/tag103.xml"/><Relationship Id="rId7" Type="http://schemas.openxmlformats.org/officeDocument/2006/relationships/image" Target="../media/image10.emf"/><Relationship Id="rId2" Type="http://schemas.openxmlformats.org/officeDocument/2006/relationships/tags" Target="../tags/tag102.xml"/><Relationship Id="rId1" Type="http://schemas.openxmlformats.org/officeDocument/2006/relationships/vmlDrawing" Target="../drawings/vmlDrawing31.vml"/><Relationship Id="rId6" Type="http://schemas.openxmlformats.org/officeDocument/2006/relationships/oleObject" Target="../embeddings/oleObject31.bin"/><Relationship Id="rId5" Type="http://schemas.openxmlformats.org/officeDocument/2006/relationships/notesSlide" Target="../notesSlides/notesSlide8.xml"/><Relationship Id="rId4"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tags" Target="../tags/tag105.xml"/><Relationship Id="rId2" Type="http://schemas.openxmlformats.org/officeDocument/2006/relationships/tags" Target="../tags/tag104.xml"/><Relationship Id="rId1" Type="http://schemas.openxmlformats.org/officeDocument/2006/relationships/vmlDrawing" Target="../drawings/vmlDrawing32.vml"/><Relationship Id="rId6" Type="http://schemas.openxmlformats.org/officeDocument/2006/relationships/image" Target="../media/image10.emf"/><Relationship Id="rId5" Type="http://schemas.openxmlformats.org/officeDocument/2006/relationships/oleObject" Target="../embeddings/oleObject32.bin"/><Relationship Id="rId4" Type="http://schemas.openxmlformats.org/officeDocument/2006/relationships/slideLayout" Target="../slideLayouts/slideLayout9.xml"/></Relationships>
</file>

<file path=ppt/slides/_rels/slide15.xml.rels><?xml version="1.0" encoding="UTF-8" standalone="yes"?>
<Relationships xmlns="http://schemas.openxmlformats.org/package/2006/relationships"><Relationship Id="rId3" Type="http://schemas.openxmlformats.org/officeDocument/2006/relationships/tags" Target="../tags/tag107.xml"/><Relationship Id="rId7" Type="http://schemas.openxmlformats.org/officeDocument/2006/relationships/image" Target="../media/image10.emf"/><Relationship Id="rId2" Type="http://schemas.openxmlformats.org/officeDocument/2006/relationships/tags" Target="../tags/tag106.xml"/><Relationship Id="rId1" Type="http://schemas.openxmlformats.org/officeDocument/2006/relationships/vmlDrawing" Target="../drawings/vmlDrawing33.vml"/><Relationship Id="rId6" Type="http://schemas.openxmlformats.org/officeDocument/2006/relationships/oleObject" Target="../embeddings/oleObject33.bin"/><Relationship Id="rId5" Type="http://schemas.openxmlformats.org/officeDocument/2006/relationships/notesSlide" Target="../notesSlides/notesSlide9.xml"/><Relationship Id="rId4"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tags" Target="../tags/tag109.xml"/><Relationship Id="rId7" Type="http://schemas.openxmlformats.org/officeDocument/2006/relationships/image" Target="../media/image10.emf"/><Relationship Id="rId2" Type="http://schemas.openxmlformats.org/officeDocument/2006/relationships/tags" Target="../tags/tag108.xml"/><Relationship Id="rId1" Type="http://schemas.openxmlformats.org/officeDocument/2006/relationships/vmlDrawing" Target="../drawings/vmlDrawing34.vml"/><Relationship Id="rId6" Type="http://schemas.openxmlformats.org/officeDocument/2006/relationships/oleObject" Target="../embeddings/oleObject34.bin"/><Relationship Id="rId5" Type="http://schemas.openxmlformats.org/officeDocument/2006/relationships/notesSlide" Target="../notesSlides/notesSlide10.xml"/><Relationship Id="rId4"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8" Type="http://schemas.openxmlformats.org/officeDocument/2006/relationships/oleObject" Target="../embeddings/oleObject36.bin"/><Relationship Id="rId3" Type="http://schemas.openxmlformats.org/officeDocument/2006/relationships/tags" Target="../tags/tag111.xml"/><Relationship Id="rId7" Type="http://schemas.openxmlformats.org/officeDocument/2006/relationships/image" Target="../media/image10.emf"/><Relationship Id="rId2" Type="http://schemas.openxmlformats.org/officeDocument/2006/relationships/tags" Target="../tags/tag110.xml"/><Relationship Id="rId1" Type="http://schemas.openxmlformats.org/officeDocument/2006/relationships/vmlDrawing" Target="../drawings/vmlDrawing35.vml"/><Relationship Id="rId6" Type="http://schemas.openxmlformats.org/officeDocument/2006/relationships/oleObject" Target="../embeddings/oleObject35.bin"/><Relationship Id="rId5" Type="http://schemas.openxmlformats.org/officeDocument/2006/relationships/slideLayout" Target="../slideLayouts/slideLayout9.xml"/><Relationship Id="rId4" Type="http://schemas.openxmlformats.org/officeDocument/2006/relationships/tags" Target="../tags/tag112.xml"/><Relationship Id="rId9" Type="http://schemas.openxmlformats.org/officeDocument/2006/relationships/image" Target="../media/image18.emf"/></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84.xml"/><Relationship Id="rId1" Type="http://schemas.openxmlformats.org/officeDocument/2006/relationships/vmlDrawing" Target="../drawings/vmlDrawing20.vml"/><Relationship Id="rId5" Type="http://schemas.openxmlformats.org/officeDocument/2006/relationships/image" Target="../media/image10.emf"/><Relationship Id="rId4" Type="http://schemas.openxmlformats.org/officeDocument/2006/relationships/oleObject" Target="../embeddings/oleObject20.bin"/></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85.xml"/><Relationship Id="rId1" Type="http://schemas.openxmlformats.org/officeDocument/2006/relationships/vmlDrawing" Target="../drawings/vmlDrawing21.vml"/><Relationship Id="rId5" Type="http://schemas.openxmlformats.org/officeDocument/2006/relationships/image" Target="../media/image10.emf"/><Relationship Id="rId4" Type="http://schemas.openxmlformats.org/officeDocument/2006/relationships/oleObject" Target="../embeddings/oleObject21.bin"/></Relationships>
</file>

<file path=ppt/slides/_rels/slide4.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87.xml"/><Relationship Id="rId7" Type="http://schemas.openxmlformats.org/officeDocument/2006/relationships/image" Target="../media/image10.emf"/><Relationship Id="rId2" Type="http://schemas.openxmlformats.org/officeDocument/2006/relationships/tags" Target="../tags/tag86.xml"/><Relationship Id="rId1" Type="http://schemas.openxmlformats.org/officeDocument/2006/relationships/vmlDrawing" Target="../drawings/vmlDrawing22.vml"/><Relationship Id="rId6" Type="http://schemas.openxmlformats.org/officeDocument/2006/relationships/oleObject" Target="../embeddings/oleObject22.bin"/><Relationship Id="rId5" Type="http://schemas.openxmlformats.org/officeDocument/2006/relationships/notesSlide" Target="../notesSlides/notesSlide1.xml"/><Relationship Id="rId4" Type="http://schemas.openxmlformats.org/officeDocument/2006/relationships/slideLayout" Target="../slideLayouts/slideLayout2.xml"/><Relationship Id="rId9" Type="http://schemas.openxmlformats.org/officeDocument/2006/relationships/image" Target="../media/image12.png"/></Relationships>
</file>

<file path=ppt/slides/_rels/slide5.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slideLayout" Target="../slideLayouts/slideLayout2.xml"/><Relationship Id="rId7" Type="http://schemas.openxmlformats.org/officeDocument/2006/relationships/image" Target="../media/image13.png"/><Relationship Id="rId2" Type="http://schemas.openxmlformats.org/officeDocument/2006/relationships/tags" Target="../tags/tag88.xml"/><Relationship Id="rId1" Type="http://schemas.openxmlformats.org/officeDocument/2006/relationships/vmlDrawing" Target="../drawings/vmlDrawing23.vml"/><Relationship Id="rId6" Type="http://schemas.openxmlformats.org/officeDocument/2006/relationships/image" Target="../media/image10.emf"/><Relationship Id="rId5" Type="http://schemas.openxmlformats.org/officeDocument/2006/relationships/oleObject" Target="../embeddings/oleObject23.bin"/><Relationship Id="rId10" Type="http://schemas.openxmlformats.org/officeDocument/2006/relationships/image" Target="../media/image16.png"/><Relationship Id="rId4" Type="http://schemas.openxmlformats.org/officeDocument/2006/relationships/notesSlide" Target="../notesSlides/notesSlide2.xml"/><Relationship Id="rId9" Type="http://schemas.openxmlformats.org/officeDocument/2006/relationships/image" Target="../media/image15.png"/></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9.xml"/><Relationship Id="rId1" Type="http://schemas.openxmlformats.org/officeDocument/2006/relationships/vmlDrawing" Target="../drawings/vmlDrawing24.vml"/><Relationship Id="rId6" Type="http://schemas.openxmlformats.org/officeDocument/2006/relationships/image" Target="../media/image10.emf"/><Relationship Id="rId5" Type="http://schemas.openxmlformats.org/officeDocument/2006/relationships/oleObject" Target="../embeddings/oleObject24.bin"/><Relationship Id="rId4" Type="http://schemas.openxmlformats.org/officeDocument/2006/relationships/notesSlide" Target="../notesSlides/notesSlide3.xml"/></Relationships>
</file>

<file path=ppt/slides/_rels/slide7.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tags" Target="../tags/tag91.xml"/><Relationship Id="rId7" Type="http://schemas.openxmlformats.org/officeDocument/2006/relationships/image" Target="../media/image10.emf"/><Relationship Id="rId2" Type="http://schemas.openxmlformats.org/officeDocument/2006/relationships/tags" Target="../tags/tag90.xml"/><Relationship Id="rId1" Type="http://schemas.openxmlformats.org/officeDocument/2006/relationships/vmlDrawing" Target="../drawings/vmlDrawing25.vml"/><Relationship Id="rId6" Type="http://schemas.openxmlformats.org/officeDocument/2006/relationships/oleObject" Target="../embeddings/oleObject25.bin"/><Relationship Id="rId5" Type="http://schemas.openxmlformats.org/officeDocument/2006/relationships/notesSlide" Target="../notesSlides/notesSlide4.xml"/><Relationship Id="rId4"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tags" Target="../tags/tag93.xml"/><Relationship Id="rId2" Type="http://schemas.openxmlformats.org/officeDocument/2006/relationships/tags" Target="../tags/tag92.xml"/><Relationship Id="rId1" Type="http://schemas.openxmlformats.org/officeDocument/2006/relationships/vmlDrawing" Target="../drawings/vmlDrawing26.vml"/><Relationship Id="rId6" Type="http://schemas.openxmlformats.org/officeDocument/2006/relationships/image" Target="../media/image10.emf"/><Relationship Id="rId5" Type="http://schemas.openxmlformats.org/officeDocument/2006/relationships/oleObject" Target="../embeddings/oleObject26.bin"/><Relationship Id="rId4"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3" Type="http://schemas.openxmlformats.org/officeDocument/2006/relationships/tags" Target="../tags/tag95.xml"/><Relationship Id="rId7" Type="http://schemas.openxmlformats.org/officeDocument/2006/relationships/image" Target="../media/image10.emf"/><Relationship Id="rId2" Type="http://schemas.openxmlformats.org/officeDocument/2006/relationships/tags" Target="../tags/tag94.xml"/><Relationship Id="rId1" Type="http://schemas.openxmlformats.org/officeDocument/2006/relationships/vmlDrawing" Target="../drawings/vmlDrawing27.vml"/><Relationship Id="rId6" Type="http://schemas.openxmlformats.org/officeDocument/2006/relationships/oleObject" Target="../embeddings/oleObject27.bin"/><Relationship Id="rId5" Type="http://schemas.openxmlformats.org/officeDocument/2006/relationships/notesSlide" Target="../notesSlides/notesSlide5.xml"/><Relationship Id="rId4"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8292597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5241" name="think-cell Slide" r:id="rId5" imgW="410" imgH="409" progId="TCLayout.ActiveDocument.1">
                  <p:embed/>
                </p:oleObj>
              </mc:Choice>
              <mc:Fallback>
                <p:oleObj name="think-cell Slide" r:id="rId5" imgW="410" imgH="409"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ts val="6000"/>
              </a:lnSpc>
              <a:spcBef>
                <a:spcPct val="0"/>
              </a:spcBef>
              <a:spcAft>
                <a:spcPct val="0"/>
              </a:spcAft>
            </a:pPr>
            <a:endParaRPr lang="en-US" sz="5400" dirty="0" smtClean="0">
              <a:solidFill>
                <a:srgbClr val="FFFFFF"/>
              </a:solidFill>
              <a:latin typeface="Trebuchet MS" panose="020B0603020202020204" pitchFamily="34" charset="0"/>
              <a:cs typeface="Arial" panose="020B0604020202020204" pitchFamily="34" charset="0"/>
              <a:sym typeface="Trebuchet MS" panose="020B0603020202020204" pitchFamily="34" charset="0"/>
            </a:endParaRPr>
          </a:p>
        </p:txBody>
      </p:sp>
      <p:sp>
        <p:nvSpPr>
          <p:cNvPr id="2" name="Title 1"/>
          <p:cNvSpPr>
            <a:spLocks noGrp="1"/>
          </p:cNvSpPr>
          <p:nvPr>
            <p:ph type="title"/>
          </p:nvPr>
        </p:nvSpPr>
        <p:spPr>
          <a:xfrm>
            <a:off x="693660" y="1812338"/>
            <a:ext cx="10933200" cy="1606550"/>
          </a:xfrm>
        </p:spPr>
        <p:txBody>
          <a:bodyPr/>
          <a:lstStyle/>
          <a:p>
            <a:pPr algn="ctr"/>
            <a:r>
              <a:rPr lang="en-US" dirty="0" smtClean="0"/>
              <a:t>Machine Learning Project:</a:t>
            </a:r>
            <a:br>
              <a:rPr lang="en-US" dirty="0" smtClean="0"/>
            </a:br>
            <a:r>
              <a:rPr lang="en-US" dirty="0" smtClean="0"/>
              <a:t>ATP Tennis Analysis</a:t>
            </a:r>
            <a:endParaRPr lang="en-US" dirty="0"/>
          </a:p>
        </p:txBody>
      </p:sp>
      <p:grpSp>
        <p:nvGrpSpPr>
          <p:cNvPr id="22" name="Group 21"/>
          <p:cNvGrpSpPr/>
          <p:nvPr/>
        </p:nvGrpSpPr>
        <p:grpSpPr>
          <a:xfrm>
            <a:off x="2905242" y="3929605"/>
            <a:ext cx="5758405" cy="2500132"/>
            <a:chOff x="2772137" y="3929605"/>
            <a:chExt cx="5758405" cy="2500132"/>
          </a:xfrm>
        </p:grpSpPr>
        <p:sp>
          <p:nvSpPr>
            <p:cNvPr id="18" name="Rectangle 17"/>
            <p:cNvSpPr/>
            <p:nvPr/>
          </p:nvSpPr>
          <p:spPr>
            <a:xfrm>
              <a:off x="3848582" y="4273952"/>
              <a:ext cx="3749040" cy="1831694"/>
            </a:xfrm>
            <a:prstGeom prst="rect">
              <a:avLst/>
            </a:prstGeom>
            <a:noFill/>
            <a:ln w="38100"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smtClean="0">
                <a:solidFill>
                  <a:srgbClr val="FFFFFF"/>
                </a:solidFill>
              </a:endParaRPr>
            </a:p>
          </p:txBody>
        </p:sp>
        <p:sp>
          <p:nvSpPr>
            <p:cNvPr id="5" name="Rectangle 4"/>
            <p:cNvSpPr/>
            <p:nvPr/>
          </p:nvSpPr>
          <p:spPr>
            <a:xfrm>
              <a:off x="2772137" y="3929605"/>
              <a:ext cx="5758405" cy="2500132"/>
            </a:xfrm>
            <a:prstGeom prst="rect">
              <a:avLst/>
            </a:prstGeom>
            <a:noFill/>
            <a:ln w="38100"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smtClean="0">
                <a:solidFill>
                  <a:srgbClr val="FFFFFF"/>
                </a:solidFill>
              </a:endParaRPr>
            </a:p>
          </p:txBody>
        </p:sp>
        <p:sp>
          <p:nvSpPr>
            <p:cNvPr id="6" name="Rectangle 5"/>
            <p:cNvSpPr/>
            <p:nvPr/>
          </p:nvSpPr>
          <p:spPr>
            <a:xfrm>
              <a:off x="2772137" y="4273952"/>
              <a:ext cx="5758405" cy="1831694"/>
            </a:xfrm>
            <a:prstGeom prst="rect">
              <a:avLst/>
            </a:prstGeom>
            <a:noFill/>
            <a:ln w="38100"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smtClean="0">
                <a:solidFill>
                  <a:srgbClr val="FFFFFF"/>
                </a:solidFill>
              </a:endParaRPr>
            </a:p>
          </p:txBody>
        </p:sp>
        <p:cxnSp>
          <p:nvCxnSpPr>
            <p:cNvPr id="8" name="Straight Connector 7"/>
            <p:cNvCxnSpPr/>
            <p:nvPr/>
          </p:nvCxnSpPr>
          <p:spPr>
            <a:xfrm>
              <a:off x="5622405" y="3929605"/>
              <a:ext cx="0" cy="2500132"/>
            </a:xfrm>
            <a:prstGeom prst="line">
              <a:avLst/>
            </a:prstGeom>
            <a:ln w="38100" cap="rnd">
              <a:solidFill>
                <a:schemeClr val="bg1"/>
              </a:solidFill>
              <a:prstDash val="solid"/>
              <a:round/>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flipV="1">
              <a:off x="3848582" y="5121793"/>
              <a:ext cx="3749040" cy="0"/>
            </a:xfrm>
            <a:prstGeom prst="line">
              <a:avLst/>
            </a:prstGeom>
            <a:ln w="38100" cap="rnd">
              <a:solidFill>
                <a:schemeClr val="bg1"/>
              </a:solidFill>
              <a:prstDash val="solid"/>
              <a:roun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0572168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08" name="think-cell Slide" r:id="rId6" imgW="410" imgH="409" progId="TCLayout.ActiveDocument.1">
                  <p:embed/>
                </p:oleObj>
              </mc:Choice>
              <mc:Fallback>
                <p:oleObj name="think-cell Slide" r:id="rId6" imgW="410" imgH="409"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3400" dirty="0" smtClean="0">
              <a:solidFill>
                <a:srgbClr val="FFFFFF"/>
              </a:solidFill>
              <a:latin typeface="Trebuchet MS" panose="020B0603020202020204" pitchFamily="34" charset="0"/>
              <a:ea typeface="+mj-ea"/>
              <a:cs typeface="+mj-cs"/>
              <a:sym typeface="Trebuchet MS" panose="020B0603020202020204" pitchFamily="34" charset="0"/>
            </a:endParaRPr>
          </a:p>
        </p:txBody>
      </p:sp>
      <p:sp>
        <p:nvSpPr>
          <p:cNvPr id="3" name="Title 2"/>
          <p:cNvSpPr>
            <a:spLocks noGrp="1"/>
          </p:cNvSpPr>
          <p:nvPr>
            <p:ph type="title"/>
          </p:nvPr>
        </p:nvSpPr>
        <p:spPr/>
        <p:txBody>
          <a:bodyPr/>
          <a:lstStyle/>
          <a:p>
            <a:r>
              <a:rPr lang="en-US" dirty="0" smtClean="0"/>
              <a:t>Random Forest (Patricia)</a:t>
            </a:r>
            <a:endParaRPr lang="en-US" dirty="0"/>
          </a:p>
        </p:txBody>
      </p:sp>
    </p:spTree>
    <p:extLst>
      <p:ext uri="{BB962C8B-B14F-4D97-AF65-F5344CB8AC3E}">
        <p14:creationId xmlns:p14="http://schemas.microsoft.com/office/powerpoint/2010/main" val="680619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35319442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6505" name="think-cell Slide" r:id="rId5" imgW="410" imgH="409" progId="TCLayout.ActiveDocument.1">
                  <p:embed/>
                </p:oleObj>
              </mc:Choice>
              <mc:Fallback>
                <p:oleObj name="think-cell Slide" r:id="rId5" imgW="410" imgH="409"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3200" dirty="0" smtClean="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 name="Title 1"/>
          <p:cNvSpPr>
            <a:spLocks noGrp="1"/>
          </p:cNvSpPr>
          <p:nvPr>
            <p:ph type="title"/>
          </p:nvPr>
        </p:nvSpPr>
        <p:spPr/>
        <p:txBody>
          <a:bodyPr/>
          <a:lstStyle/>
          <a:p>
            <a:r>
              <a:rPr lang="en-US" dirty="0" smtClean="0"/>
              <a:t>Predicting Point End Using Tracking Data	</a:t>
            </a:r>
            <a:endParaRPr lang="en-US" dirty="0"/>
          </a:p>
        </p:txBody>
      </p:sp>
      <p:sp>
        <p:nvSpPr>
          <p:cNvPr id="5" name="TextBox 4"/>
          <p:cNvSpPr txBox="1"/>
          <p:nvPr/>
        </p:nvSpPr>
        <p:spPr>
          <a:xfrm>
            <a:off x="4404167" y="1996633"/>
            <a:ext cx="5769980" cy="347819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indent="-285750">
              <a:buFont typeface="Arial" panose="020B0604020202020204" pitchFamily="34" charset="0"/>
              <a:buChar char="•"/>
            </a:pPr>
            <a:r>
              <a:rPr lang="en-US" dirty="0" smtClean="0">
                <a:solidFill>
                  <a:srgbClr val="575757"/>
                </a:solidFill>
              </a:rPr>
              <a:t>Harish</a:t>
            </a:r>
          </a:p>
          <a:p>
            <a:pPr marL="285750" indent="-285750">
              <a:buFont typeface="Arial" panose="020B0604020202020204" pitchFamily="34" charset="0"/>
              <a:buChar char="•"/>
            </a:pPr>
            <a:r>
              <a:rPr lang="en-US" dirty="0" smtClean="0">
                <a:solidFill>
                  <a:srgbClr val="575757"/>
                </a:solidFill>
              </a:rPr>
              <a:t>To</a:t>
            </a:r>
          </a:p>
          <a:p>
            <a:pPr marL="285750" indent="-285750">
              <a:buFont typeface="Arial" panose="020B0604020202020204" pitchFamily="34" charset="0"/>
              <a:buChar char="•"/>
            </a:pPr>
            <a:r>
              <a:rPr lang="en-US" dirty="0" smtClean="0">
                <a:solidFill>
                  <a:srgbClr val="575757"/>
                </a:solidFill>
              </a:rPr>
              <a:t>Add</a:t>
            </a:r>
          </a:p>
          <a:p>
            <a:pPr marL="285750" indent="-285750">
              <a:buFont typeface="Arial" panose="020B0604020202020204" pitchFamily="34" charset="0"/>
              <a:buChar char="•"/>
            </a:pPr>
            <a:r>
              <a:rPr lang="en-US" dirty="0" smtClean="0">
                <a:solidFill>
                  <a:srgbClr val="575757"/>
                </a:solidFill>
              </a:rPr>
              <a:t>Steps</a:t>
            </a:r>
          </a:p>
          <a:p>
            <a:pPr marL="285750" indent="-285750">
              <a:buFont typeface="Arial" panose="020B0604020202020204" pitchFamily="34" charset="0"/>
              <a:buChar char="•"/>
            </a:pPr>
            <a:endParaRPr lang="en-US" dirty="0" smtClean="0">
              <a:solidFill>
                <a:srgbClr val="575757"/>
              </a:solidFill>
            </a:endParaRPr>
          </a:p>
          <a:p>
            <a:pPr algn="ctr"/>
            <a:endParaRPr lang="en-US" dirty="0">
              <a:solidFill>
                <a:srgbClr val="575757"/>
              </a:solidFill>
            </a:endParaRPr>
          </a:p>
        </p:txBody>
      </p:sp>
      <p:grpSp>
        <p:nvGrpSpPr>
          <p:cNvPr id="6" name="Group 5"/>
          <p:cNvGrpSpPr>
            <a:grpSpLocks noChangeAspect="1"/>
          </p:cNvGrpSpPr>
          <p:nvPr/>
        </p:nvGrpSpPr>
        <p:grpSpPr>
          <a:xfrm>
            <a:off x="731520" y="3840480"/>
            <a:ext cx="1644650" cy="1644650"/>
            <a:chOff x="5273675" y="2606675"/>
            <a:chExt cx="1644650" cy="1644650"/>
          </a:xfrm>
        </p:grpSpPr>
        <p:sp>
          <p:nvSpPr>
            <p:cNvPr id="7" name="AutoShape 3"/>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 name="Freeform 7"/>
            <p:cNvSpPr>
              <a:spLocks noChangeArrowheads="1"/>
            </p:cNvSpPr>
            <p:nvPr/>
          </p:nvSpPr>
          <p:spPr bwMode="auto">
            <a:xfrm>
              <a:off x="5664200" y="2882899"/>
              <a:ext cx="863600" cy="1092202"/>
            </a:xfrm>
            <a:custGeom>
              <a:avLst/>
              <a:gdLst>
                <a:gd name="connsiteX0" fmla="*/ 105189 w 863600"/>
                <a:gd name="connsiteY0" fmla="*/ 760414 h 1092202"/>
                <a:gd name="connsiteX1" fmla="*/ 194503 w 863600"/>
                <a:gd name="connsiteY1" fmla="*/ 828199 h 1092202"/>
                <a:gd name="connsiteX2" fmla="*/ 431007 w 863600"/>
                <a:gd name="connsiteY2" fmla="*/ 893129 h 1092202"/>
                <a:gd name="connsiteX3" fmla="*/ 667510 w 863600"/>
                <a:gd name="connsiteY3" fmla="*/ 828199 h 1092202"/>
                <a:gd name="connsiteX4" fmla="*/ 756110 w 863600"/>
                <a:gd name="connsiteY4" fmla="*/ 760414 h 1092202"/>
                <a:gd name="connsiteX5" fmla="*/ 756110 w 863600"/>
                <a:gd name="connsiteY5" fmla="*/ 761841 h 1092202"/>
                <a:gd name="connsiteX6" fmla="*/ 714668 w 863600"/>
                <a:gd name="connsiteY6" fmla="*/ 842469 h 1092202"/>
                <a:gd name="connsiteX7" fmla="*/ 846138 w 863600"/>
                <a:gd name="connsiteY7" fmla="*/ 949498 h 1092202"/>
                <a:gd name="connsiteX8" fmla="*/ 846138 w 863600"/>
                <a:gd name="connsiteY8" fmla="*/ 1076505 h 1092202"/>
                <a:gd name="connsiteX9" fmla="*/ 830419 w 863600"/>
                <a:gd name="connsiteY9" fmla="*/ 1092202 h 1092202"/>
                <a:gd name="connsiteX10" fmla="*/ 31595 w 863600"/>
                <a:gd name="connsiteY10" fmla="*/ 1092202 h 1092202"/>
                <a:gd name="connsiteX11" fmla="*/ 15875 w 863600"/>
                <a:gd name="connsiteY11" fmla="*/ 1076505 h 1092202"/>
                <a:gd name="connsiteX12" fmla="*/ 15875 w 863600"/>
                <a:gd name="connsiteY12" fmla="*/ 949498 h 1092202"/>
                <a:gd name="connsiteX13" fmla="*/ 146631 w 863600"/>
                <a:gd name="connsiteY13" fmla="*/ 842469 h 1092202"/>
                <a:gd name="connsiteX14" fmla="*/ 105189 w 863600"/>
                <a:gd name="connsiteY14" fmla="*/ 761841 h 1092202"/>
                <a:gd name="connsiteX15" fmla="*/ 105189 w 863600"/>
                <a:gd name="connsiteY15" fmla="*/ 760414 h 1092202"/>
                <a:gd name="connsiteX16" fmla="*/ 430366 w 863600"/>
                <a:gd name="connsiteY16" fmla="*/ 57151 h 1092202"/>
                <a:gd name="connsiteX17" fmla="*/ 446088 w 863600"/>
                <a:gd name="connsiteY17" fmla="*/ 72880 h 1092202"/>
                <a:gd name="connsiteX18" fmla="*/ 430366 w 863600"/>
                <a:gd name="connsiteY18" fmla="*/ 88609 h 1092202"/>
                <a:gd name="connsiteX19" fmla="*/ 90184 w 863600"/>
                <a:gd name="connsiteY19" fmla="*/ 429645 h 1092202"/>
                <a:gd name="connsiteX20" fmla="*/ 74461 w 863600"/>
                <a:gd name="connsiteY20" fmla="*/ 446089 h 1092202"/>
                <a:gd name="connsiteX21" fmla="*/ 58738 w 863600"/>
                <a:gd name="connsiteY21" fmla="*/ 429645 h 1092202"/>
                <a:gd name="connsiteX22" fmla="*/ 430366 w 863600"/>
                <a:gd name="connsiteY22" fmla="*/ 57151 h 1092202"/>
                <a:gd name="connsiteX23" fmla="*/ 431800 w 863600"/>
                <a:gd name="connsiteY23" fmla="*/ 30163 h 1092202"/>
                <a:gd name="connsiteX24" fmla="*/ 31750 w 863600"/>
                <a:gd name="connsiteY24" fmla="*/ 430928 h 1092202"/>
                <a:gd name="connsiteX25" fmla="*/ 31750 w 863600"/>
                <a:gd name="connsiteY25" fmla="*/ 440214 h 1092202"/>
                <a:gd name="connsiteX26" fmla="*/ 31750 w 863600"/>
                <a:gd name="connsiteY26" fmla="*/ 440929 h 1092202"/>
                <a:gd name="connsiteX27" fmla="*/ 31750 w 863600"/>
                <a:gd name="connsiteY27" fmla="*/ 443072 h 1092202"/>
                <a:gd name="connsiteX28" fmla="*/ 31750 w 863600"/>
                <a:gd name="connsiteY28" fmla="*/ 443786 h 1092202"/>
                <a:gd name="connsiteX29" fmla="*/ 31750 w 863600"/>
                <a:gd name="connsiteY29" fmla="*/ 448787 h 1092202"/>
                <a:gd name="connsiteX30" fmla="*/ 31750 w 863600"/>
                <a:gd name="connsiteY30" fmla="*/ 450216 h 1092202"/>
                <a:gd name="connsiteX31" fmla="*/ 31750 w 863600"/>
                <a:gd name="connsiteY31" fmla="*/ 452359 h 1092202"/>
                <a:gd name="connsiteX32" fmla="*/ 32463 w 863600"/>
                <a:gd name="connsiteY32" fmla="*/ 453788 h 1092202"/>
                <a:gd name="connsiteX33" fmla="*/ 32463 w 863600"/>
                <a:gd name="connsiteY33" fmla="*/ 458788 h 1092202"/>
                <a:gd name="connsiteX34" fmla="*/ 32463 w 863600"/>
                <a:gd name="connsiteY34" fmla="*/ 459503 h 1092202"/>
                <a:gd name="connsiteX35" fmla="*/ 32463 w 863600"/>
                <a:gd name="connsiteY35" fmla="*/ 461646 h 1092202"/>
                <a:gd name="connsiteX36" fmla="*/ 33176 w 863600"/>
                <a:gd name="connsiteY36" fmla="*/ 463789 h 1092202"/>
                <a:gd name="connsiteX37" fmla="*/ 33176 w 863600"/>
                <a:gd name="connsiteY37" fmla="*/ 469504 h 1092202"/>
                <a:gd name="connsiteX38" fmla="*/ 33176 w 863600"/>
                <a:gd name="connsiteY38" fmla="*/ 470933 h 1092202"/>
                <a:gd name="connsiteX39" fmla="*/ 33890 w 863600"/>
                <a:gd name="connsiteY39" fmla="*/ 471647 h 1092202"/>
                <a:gd name="connsiteX40" fmla="*/ 33890 w 863600"/>
                <a:gd name="connsiteY40" fmla="*/ 473790 h 1092202"/>
                <a:gd name="connsiteX41" fmla="*/ 34603 w 863600"/>
                <a:gd name="connsiteY41" fmla="*/ 479505 h 1092202"/>
                <a:gd name="connsiteX42" fmla="*/ 34603 w 863600"/>
                <a:gd name="connsiteY42" fmla="*/ 480219 h 1092202"/>
                <a:gd name="connsiteX43" fmla="*/ 34603 w 863600"/>
                <a:gd name="connsiteY43" fmla="*/ 483077 h 1092202"/>
                <a:gd name="connsiteX44" fmla="*/ 35316 w 863600"/>
                <a:gd name="connsiteY44" fmla="*/ 483791 h 1092202"/>
                <a:gd name="connsiteX45" fmla="*/ 35316 w 863600"/>
                <a:gd name="connsiteY45" fmla="*/ 485934 h 1092202"/>
                <a:gd name="connsiteX46" fmla="*/ 36029 w 863600"/>
                <a:gd name="connsiteY46" fmla="*/ 488792 h 1092202"/>
                <a:gd name="connsiteX47" fmla="*/ 36029 w 863600"/>
                <a:gd name="connsiteY47" fmla="*/ 489506 h 1092202"/>
                <a:gd name="connsiteX48" fmla="*/ 36029 w 863600"/>
                <a:gd name="connsiteY48" fmla="*/ 492364 h 1092202"/>
                <a:gd name="connsiteX49" fmla="*/ 36742 w 863600"/>
                <a:gd name="connsiteY49" fmla="*/ 493793 h 1092202"/>
                <a:gd name="connsiteX50" fmla="*/ 37455 w 863600"/>
                <a:gd name="connsiteY50" fmla="*/ 498079 h 1092202"/>
                <a:gd name="connsiteX51" fmla="*/ 37455 w 863600"/>
                <a:gd name="connsiteY51" fmla="*/ 498793 h 1092202"/>
                <a:gd name="connsiteX52" fmla="*/ 38168 w 863600"/>
                <a:gd name="connsiteY52" fmla="*/ 501651 h 1092202"/>
                <a:gd name="connsiteX53" fmla="*/ 38168 w 863600"/>
                <a:gd name="connsiteY53" fmla="*/ 503079 h 1092202"/>
                <a:gd name="connsiteX54" fmla="*/ 38881 w 863600"/>
                <a:gd name="connsiteY54" fmla="*/ 508080 h 1092202"/>
                <a:gd name="connsiteX55" fmla="*/ 39594 w 863600"/>
                <a:gd name="connsiteY55" fmla="*/ 510938 h 1092202"/>
                <a:gd name="connsiteX56" fmla="*/ 39594 w 863600"/>
                <a:gd name="connsiteY56" fmla="*/ 512366 h 1092202"/>
                <a:gd name="connsiteX57" fmla="*/ 40307 w 863600"/>
                <a:gd name="connsiteY57" fmla="*/ 512366 h 1092202"/>
                <a:gd name="connsiteX58" fmla="*/ 41021 w 863600"/>
                <a:gd name="connsiteY58" fmla="*/ 517367 h 1092202"/>
                <a:gd name="connsiteX59" fmla="*/ 41734 w 863600"/>
                <a:gd name="connsiteY59" fmla="*/ 519510 h 1092202"/>
                <a:gd name="connsiteX60" fmla="*/ 41734 w 863600"/>
                <a:gd name="connsiteY60" fmla="*/ 522368 h 1092202"/>
                <a:gd name="connsiteX61" fmla="*/ 42447 w 863600"/>
                <a:gd name="connsiteY61" fmla="*/ 522368 h 1092202"/>
                <a:gd name="connsiteX62" fmla="*/ 43160 w 863600"/>
                <a:gd name="connsiteY62" fmla="*/ 525939 h 1092202"/>
                <a:gd name="connsiteX63" fmla="*/ 43873 w 863600"/>
                <a:gd name="connsiteY63" fmla="*/ 528797 h 1092202"/>
                <a:gd name="connsiteX64" fmla="*/ 44586 w 863600"/>
                <a:gd name="connsiteY64" fmla="*/ 531654 h 1092202"/>
                <a:gd name="connsiteX65" fmla="*/ 45299 w 863600"/>
                <a:gd name="connsiteY65" fmla="*/ 535226 h 1092202"/>
                <a:gd name="connsiteX66" fmla="*/ 46012 w 863600"/>
                <a:gd name="connsiteY66" fmla="*/ 538084 h 1092202"/>
                <a:gd name="connsiteX67" fmla="*/ 46725 w 863600"/>
                <a:gd name="connsiteY67" fmla="*/ 540227 h 1092202"/>
                <a:gd name="connsiteX68" fmla="*/ 46725 w 863600"/>
                <a:gd name="connsiteY68" fmla="*/ 540941 h 1092202"/>
                <a:gd name="connsiteX69" fmla="*/ 47438 w 863600"/>
                <a:gd name="connsiteY69" fmla="*/ 542370 h 1092202"/>
                <a:gd name="connsiteX70" fmla="*/ 49578 w 863600"/>
                <a:gd name="connsiteY70" fmla="*/ 548799 h 1092202"/>
                <a:gd name="connsiteX71" fmla="*/ 50291 w 863600"/>
                <a:gd name="connsiteY71" fmla="*/ 550943 h 1092202"/>
                <a:gd name="connsiteX72" fmla="*/ 52430 w 863600"/>
                <a:gd name="connsiteY72" fmla="*/ 557372 h 1092202"/>
                <a:gd name="connsiteX73" fmla="*/ 52430 w 863600"/>
                <a:gd name="connsiteY73" fmla="*/ 558086 h 1092202"/>
                <a:gd name="connsiteX74" fmla="*/ 52430 w 863600"/>
                <a:gd name="connsiteY74" fmla="*/ 559515 h 1092202"/>
                <a:gd name="connsiteX75" fmla="*/ 53143 w 863600"/>
                <a:gd name="connsiteY75" fmla="*/ 560944 h 1092202"/>
                <a:gd name="connsiteX76" fmla="*/ 55283 w 863600"/>
                <a:gd name="connsiteY76" fmla="*/ 565944 h 1092202"/>
                <a:gd name="connsiteX77" fmla="*/ 55283 w 863600"/>
                <a:gd name="connsiteY77" fmla="*/ 566659 h 1092202"/>
                <a:gd name="connsiteX78" fmla="*/ 55996 w 863600"/>
                <a:gd name="connsiteY78" fmla="*/ 569516 h 1092202"/>
                <a:gd name="connsiteX79" fmla="*/ 58135 w 863600"/>
                <a:gd name="connsiteY79" fmla="*/ 573088 h 1092202"/>
                <a:gd name="connsiteX80" fmla="*/ 58848 w 863600"/>
                <a:gd name="connsiteY80" fmla="*/ 574517 h 1092202"/>
                <a:gd name="connsiteX81" fmla="*/ 58848 w 863600"/>
                <a:gd name="connsiteY81" fmla="*/ 575231 h 1092202"/>
                <a:gd name="connsiteX82" fmla="*/ 59561 w 863600"/>
                <a:gd name="connsiteY82" fmla="*/ 576660 h 1092202"/>
                <a:gd name="connsiteX83" fmla="*/ 60987 w 863600"/>
                <a:gd name="connsiteY83" fmla="*/ 581661 h 1092202"/>
                <a:gd name="connsiteX84" fmla="*/ 62414 w 863600"/>
                <a:gd name="connsiteY84" fmla="*/ 583804 h 1092202"/>
                <a:gd name="connsiteX85" fmla="*/ 63127 w 863600"/>
                <a:gd name="connsiteY85" fmla="*/ 585233 h 1092202"/>
                <a:gd name="connsiteX86" fmla="*/ 63840 w 863600"/>
                <a:gd name="connsiteY86" fmla="*/ 587376 h 1092202"/>
                <a:gd name="connsiteX87" fmla="*/ 64553 w 863600"/>
                <a:gd name="connsiteY87" fmla="*/ 590233 h 1092202"/>
                <a:gd name="connsiteX88" fmla="*/ 65979 w 863600"/>
                <a:gd name="connsiteY88" fmla="*/ 592376 h 1092202"/>
                <a:gd name="connsiteX89" fmla="*/ 65979 w 863600"/>
                <a:gd name="connsiteY89" fmla="*/ 593091 h 1092202"/>
                <a:gd name="connsiteX90" fmla="*/ 68118 w 863600"/>
                <a:gd name="connsiteY90" fmla="*/ 596663 h 1092202"/>
                <a:gd name="connsiteX91" fmla="*/ 68832 w 863600"/>
                <a:gd name="connsiteY91" fmla="*/ 598091 h 1092202"/>
                <a:gd name="connsiteX92" fmla="*/ 69545 w 863600"/>
                <a:gd name="connsiteY92" fmla="*/ 600234 h 1092202"/>
                <a:gd name="connsiteX93" fmla="*/ 70258 w 863600"/>
                <a:gd name="connsiteY93" fmla="*/ 601663 h 1092202"/>
                <a:gd name="connsiteX94" fmla="*/ 71684 w 863600"/>
                <a:gd name="connsiteY94" fmla="*/ 604521 h 1092202"/>
                <a:gd name="connsiteX95" fmla="*/ 72397 w 863600"/>
                <a:gd name="connsiteY95" fmla="*/ 606664 h 1092202"/>
                <a:gd name="connsiteX96" fmla="*/ 73823 w 863600"/>
                <a:gd name="connsiteY96" fmla="*/ 608807 h 1092202"/>
                <a:gd name="connsiteX97" fmla="*/ 74536 w 863600"/>
                <a:gd name="connsiteY97" fmla="*/ 610236 h 1092202"/>
                <a:gd name="connsiteX98" fmla="*/ 75249 w 863600"/>
                <a:gd name="connsiteY98" fmla="*/ 612379 h 1092202"/>
                <a:gd name="connsiteX99" fmla="*/ 76676 w 863600"/>
                <a:gd name="connsiteY99" fmla="*/ 615236 h 1092202"/>
                <a:gd name="connsiteX100" fmla="*/ 78102 w 863600"/>
                <a:gd name="connsiteY100" fmla="*/ 616665 h 1092202"/>
                <a:gd name="connsiteX101" fmla="*/ 79528 w 863600"/>
                <a:gd name="connsiteY101" fmla="*/ 620237 h 1092202"/>
                <a:gd name="connsiteX102" fmla="*/ 80954 w 863600"/>
                <a:gd name="connsiteY102" fmla="*/ 623094 h 1092202"/>
                <a:gd name="connsiteX103" fmla="*/ 81667 w 863600"/>
                <a:gd name="connsiteY103" fmla="*/ 623094 h 1092202"/>
                <a:gd name="connsiteX104" fmla="*/ 81667 w 863600"/>
                <a:gd name="connsiteY104" fmla="*/ 624523 h 1092202"/>
                <a:gd name="connsiteX105" fmla="*/ 83807 w 863600"/>
                <a:gd name="connsiteY105" fmla="*/ 627381 h 1092202"/>
                <a:gd name="connsiteX106" fmla="*/ 85946 w 863600"/>
                <a:gd name="connsiteY106" fmla="*/ 630953 h 1092202"/>
                <a:gd name="connsiteX107" fmla="*/ 85946 w 863600"/>
                <a:gd name="connsiteY107" fmla="*/ 631667 h 1092202"/>
                <a:gd name="connsiteX108" fmla="*/ 88085 w 863600"/>
                <a:gd name="connsiteY108" fmla="*/ 635239 h 1092202"/>
                <a:gd name="connsiteX109" fmla="*/ 90225 w 863600"/>
                <a:gd name="connsiteY109" fmla="*/ 638811 h 1092202"/>
                <a:gd name="connsiteX110" fmla="*/ 91651 w 863600"/>
                <a:gd name="connsiteY110" fmla="*/ 640239 h 1092202"/>
                <a:gd name="connsiteX111" fmla="*/ 93077 w 863600"/>
                <a:gd name="connsiteY111" fmla="*/ 643811 h 1092202"/>
                <a:gd name="connsiteX112" fmla="*/ 95216 w 863600"/>
                <a:gd name="connsiteY112" fmla="*/ 645954 h 1092202"/>
                <a:gd name="connsiteX113" fmla="*/ 96642 w 863600"/>
                <a:gd name="connsiteY113" fmla="*/ 648812 h 1092202"/>
                <a:gd name="connsiteX114" fmla="*/ 99495 w 863600"/>
                <a:gd name="connsiteY114" fmla="*/ 653098 h 1092202"/>
                <a:gd name="connsiteX115" fmla="*/ 101634 w 863600"/>
                <a:gd name="connsiteY115" fmla="*/ 655956 h 1092202"/>
                <a:gd name="connsiteX116" fmla="*/ 102347 w 863600"/>
                <a:gd name="connsiteY116" fmla="*/ 657384 h 1092202"/>
                <a:gd name="connsiteX117" fmla="*/ 104487 w 863600"/>
                <a:gd name="connsiteY117" fmla="*/ 660242 h 1092202"/>
                <a:gd name="connsiteX118" fmla="*/ 106626 w 863600"/>
                <a:gd name="connsiteY118" fmla="*/ 663814 h 1092202"/>
                <a:gd name="connsiteX119" fmla="*/ 108052 w 863600"/>
                <a:gd name="connsiteY119" fmla="*/ 665243 h 1092202"/>
                <a:gd name="connsiteX120" fmla="*/ 109478 w 863600"/>
                <a:gd name="connsiteY120" fmla="*/ 667386 h 1092202"/>
                <a:gd name="connsiteX121" fmla="*/ 112331 w 863600"/>
                <a:gd name="connsiteY121" fmla="*/ 670243 h 1092202"/>
                <a:gd name="connsiteX122" fmla="*/ 113757 w 863600"/>
                <a:gd name="connsiteY122" fmla="*/ 673101 h 1092202"/>
                <a:gd name="connsiteX123" fmla="*/ 114470 w 863600"/>
                <a:gd name="connsiteY123" fmla="*/ 673101 h 1092202"/>
                <a:gd name="connsiteX124" fmla="*/ 115183 w 863600"/>
                <a:gd name="connsiteY124" fmla="*/ 674529 h 1092202"/>
                <a:gd name="connsiteX125" fmla="*/ 118749 w 863600"/>
                <a:gd name="connsiteY125" fmla="*/ 678816 h 1092202"/>
                <a:gd name="connsiteX126" fmla="*/ 120175 w 863600"/>
                <a:gd name="connsiteY126" fmla="*/ 680959 h 1092202"/>
                <a:gd name="connsiteX127" fmla="*/ 122314 w 863600"/>
                <a:gd name="connsiteY127" fmla="*/ 683816 h 1092202"/>
                <a:gd name="connsiteX128" fmla="*/ 125167 w 863600"/>
                <a:gd name="connsiteY128" fmla="*/ 686674 h 1092202"/>
                <a:gd name="connsiteX129" fmla="*/ 126593 w 863600"/>
                <a:gd name="connsiteY129" fmla="*/ 688817 h 1092202"/>
                <a:gd name="connsiteX130" fmla="*/ 128019 w 863600"/>
                <a:gd name="connsiteY130" fmla="*/ 690246 h 1092202"/>
                <a:gd name="connsiteX131" fmla="*/ 130871 w 863600"/>
                <a:gd name="connsiteY131" fmla="*/ 693103 h 1092202"/>
                <a:gd name="connsiteX132" fmla="*/ 133724 w 863600"/>
                <a:gd name="connsiteY132" fmla="*/ 696675 h 1092202"/>
                <a:gd name="connsiteX133" fmla="*/ 136576 w 863600"/>
                <a:gd name="connsiteY133" fmla="*/ 699533 h 1092202"/>
                <a:gd name="connsiteX134" fmla="*/ 140142 w 863600"/>
                <a:gd name="connsiteY134" fmla="*/ 703104 h 1092202"/>
                <a:gd name="connsiteX135" fmla="*/ 145133 w 863600"/>
                <a:gd name="connsiteY135" fmla="*/ 708105 h 1092202"/>
                <a:gd name="connsiteX136" fmla="*/ 147986 w 863600"/>
                <a:gd name="connsiteY136" fmla="*/ 711677 h 1092202"/>
                <a:gd name="connsiteX137" fmla="*/ 151551 w 863600"/>
                <a:gd name="connsiteY137" fmla="*/ 714534 h 1092202"/>
                <a:gd name="connsiteX138" fmla="*/ 154404 w 863600"/>
                <a:gd name="connsiteY138" fmla="*/ 717392 h 1092202"/>
                <a:gd name="connsiteX139" fmla="*/ 157256 w 863600"/>
                <a:gd name="connsiteY139" fmla="*/ 720964 h 1092202"/>
                <a:gd name="connsiteX140" fmla="*/ 160822 w 863600"/>
                <a:gd name="connsiteY140" fmla="*/ 723821 h 1092202"/>
                <a:gd name="connsiteX141" fmla="*/ 163674 w 863600"/>
                <a:gd name="connsiteY141" fmla="*/ 726679 h 1092202"/>
                <a:gd name="connsiteX142" fmla="*/ 167240 w 863600"/>
                <a:gd name="connsiteY142" fmla="*/ 729536 h 1092202"/>
                <a:gd name="connsiteX143" fmla="*/ 173657 w 863600"/>
                <a:gd name="connsiteY143" fmla="*/ 735251 h 1092202"/>
                <a:gd name="connsiteX144" fmla="*/ 176510 w 863600"/>
                <a:gd name="connsiteY144" fmla="*/ 737394 h 1092202"/>
                <a:gd name="connsiteX145" fmla="*/ 180075 w 863600"/>
                <a:gd name="connsiteY145" fmla="*/ 740252 h 1092202"/>
                <a:gd name="connsiteX146" fmla="*/ 182928 w 863600"/>
                <a:gd name="connsiteY146" fmla="*/ 743109 h 1092202"/>
                <a:gd name="connsiteX147" fmla="*/ 186493 w 863600"/>
                <a:gd name="connsiteY147" fmla="*/ 745967 h 1092202"/>
                <a:gd name="connsiteX148" fmla="*/ 190059 w 863600"/>
                <a:gd name="connsiteY148" fmla="*/ 748110 h 1092202"/>
                <a:gd name="connsiteX149" fmla="*/ 193624 w 863600"/>
                <a:gd name="connsiteY149" fmla="*/ 750968 h 1092202"/>
                <a:gd name="connsiteX150" fmla="*/ 196477 w 863600"/>
                <a:gd name="connsiteY150" fmla="*/ 753111 h 1092202"/>
                <a:gd name="connsiteX151" fmla="*/ 204321 w 863600"/>
                <a:gd name="connsiteY151" fmla="*/ 758826 h 1092202"/>
                <a:gd name="connsiteX152" fmla="*/ 207173 w 863600"/>
                <a:gd name="connsiteY152" fmla="*/ 760254 h 1092202"/>
                <a:gd name="connsiteX153" fmla="*/ 211452 w 863600"/>
                <a:gd name="connsiteY153" fmla="*/ 763112 h 1092202"/>
                <a:gd name="connsiteX154" fmla="*/ 214304 w 863600"/>
                <a:gd name="connsiteY154" fmla="*/ 765255 h 1092202"/>
                <a:gd name="connsiteX155" fmla="*/ 218583 w 863600"/>
                <a:gd name="connsiteY155" fmla="*/ 768113 h 1092202"/>
                <a:gd name="connsiteX156" fmla="*/ 221435 w 863600"/>
                <a:gd name="connsiteY156" fmla="*/ 770256 h 1092202"/>
                <a:gd name="connsiteX157" fmla="*/ 225714 w 863600"/>
                <a:gd name="connsiteY157" fmla="*/ 772399 h 1092202"/>
                <a:gd name="connsiteX158" fmla="*/ 226427 w 863600"/>
                <a:gd name="connsiteY158" fmla="*/ 773113 h 1092202"/>
                <a:gd name="connsiteX159" fmla="*/ 237124 w 863600"/>
                <a:gd name="connsiteY159" fmla="*/ 779543 h 1092202"/>
                <a:gd name="connsiteX160" fmla="*/ 239976 w 863600"/>
                <a:gd name="connsiteY160" fmla="*/ 780971 h 1092202"/>
                <a:gd name="connsiteX161" fmla="*/ 244255 w 863600"/>
                <a:gd name="connsiteY161" fmla="*/ 783114 h 1092202"/>
                <a:gd name="connsiteX162" fmla="*/ 247107 w 863600"/>
                <a:gd name="connsiteY162" fmla="*/ 784543 h 1092202"/>
                <a:gd name="connsiteX163" fmla="*/ 252099 w 863600"/>
                <a:gd name="connsiteY163" fmla="*/ 787401 h 1092202"/>
                <a:gd name="connsiteX164" fmla="*/ 254951 w 863600"/>
                <a:gd name="connsiteY164" fmla="*/ 788829 h 1092202"/>
                <a:gd name="connsiteX165" fmla="*/ 270639 w 863600"/>
                <a:gd name="connsiteY165" fmla="*/ 796688 h 1092202"/>
                <a:gd name="connsiteX166" fmla="*/ 273492 w 863600"/>
                <a:gd name="connsiteY166" fmla="*/ 798116 h 1092202"/>
                <a:gd name="connsiteX167" fmla="*/ 278483 w 863600"/>
                <a:gd name="connsiteY167" fmla="*/ 800259 h 1092202"/>
                <a:gd name="connsiteX168" fmla="*/ 282049 w 863600"/>
                <a:gd name="connsiteY168" fmla="*/ 800974 h 1092202"/>
                <a:gd name="connsiteX169" fmla="*/ 287041 w 863600"/>
                <a:gd name="connsiteY169" fmla="*/ 803117 h 1092202"/>
                <a:gd name="connsiteX170" fmla="*/ 289893 w 863600"/>
                <a:gd name="connsiteY170" fmla="*/ 804546 h 1092202"/>
                <a:gd name="connsiteX171" fmla="*/ 302016 w 863600"/>
                <a:gd name="connsiteY171" fmla="*/ 808832 h 1092202"/>
                <a:gd name="connsiteX172" fmla="*/ 431800 w 863600"/>
                <a:gd name="connsiteY172" fmla="*/ 830263 h 1092202"/>
                <a:gd name="connsiteX173" fmla="*/ 561585 w 863600"/>
                <a:gd name="connsiteY173" fmla="*/ 808832 h 1092202"/>
                <a:gd name="connsiteX174" fmla="*/ 573707 w 863600"/>
                <a:gd name="connsiteY174" fmla="*/ 804546 h 1092202"/>
                <a:gd name="connsiteX175" fmla="*/ 576560 w 863600"/>
                <a:gd name="connsiteY175" fmla="*/ 803117 h 1092202"/>
                <a:gd name="connsiteX176" fmla="*/ 581552 w 863600"/>
                <a:gd name="connsiteY176" fmla="*/ 800974 h 1092202"/>
                <a:gd name="connsiteX177" fmla="*/ 585117 w 863600"/>
                <a:gd name="connsiteY177" fmla="*/ 800259 h 1092202"/>
                <a:gd name="connsiteX178" fmla="*/ 590109 w 863600"/>
                <a:gd name="connsiteY178" fmla="*/ 798116 h 1092202"/>
                <a:gd name="connsiteX179" fmla="*/ 592961 w 863600"/>
                <a:gd name="connsiteY179" fmla="*/ 796688 h 1092202"/>
                <a:gd name="connsiteX180" fmla="*/ 608649 w 863600"/>
                <a:gd name="connsiteY180" fmla="*/ 788829 h 1092202"/>
                <a:gd name="connsiteX181" fmla="*/ 611502 w 863600"/>
                <a:gd name="connsiteY181" fmla="*/ 787401 h 1092202"/>
                <a:gd name="connsiteX182" fmla="*/ 616494 w 863600"/>
                <a:gd name="connsiteY182" fmla="*/ 784543 h 1092202"/>
                <a:gd name="connsiteX183" fmla="*/ 619346 w 863600"/>
                <a:gd name="connsiteY183" fmla="*/ 783114 h 1092202"/>
                <a:gd name="connsiteX184" fmla="*/ 623625 w 863600"/>
                <a:gd name="connsiteY184" fmla="*/ 780971 h 1092202"/>
                <a:gd name="connsiteX185" fmla="*/ 626477 w 863600"/>
                <a:gd name="connsiteY185" fmla="*/ 779543 h 1092202"/>
                <a:gd name="connsiteX186" fmla="*/ 637173 w 863600"/>
                <a:gd name="connsiteY186" fmla="*/ 773113 h 1092202"/>
                <a:gd name="connsiteX187" fmla="*/ 637887 w 863600"/>
                <a:gd name="connsiteY187" fmla="*/ 772399 h 1092202"/>
                <a:gd name="connsiteX188" fmla="*/ 642165 w 863600"/>
                <a:gd name="connsiteY188" fmla="*/ 770256 h 1092202"/>
                <a:gd name="connsiteX189" fmla="*/ 645018 w 863600"/>
                <a:gd name="connsiteY189" fmla="*/ 768113 h 1092202"/>
                <a:gd name="connsiteX190" fmla="*/ 649296 w 863600"/>
                <a:gd name="connsiteY190" fmla="*/ 765255 h 1092202"/>
                <a:gd name="connsiteX191" fmla="*/ 652149 w 863600"/>
                <a:gd name="connsiteY191" fmla="*/ 763112 h 1092202"/>
                <a:gd name="connsiteX192" fmla="*/ 656427 w 863600"/>
                <a:gd name="connsiteY192" fmla="*/ 760254 h 1092202"/>
                <a:gd name="connsiteX193" fmla="*/ 659280 w 863600"/>
                <a:gd name="connsiteY193" fmla="*/ 758826 h 1092202"/>
                <a:gd name="connsiteX194" fmla="*/ 667124 w 863600"/>
                <a:gd name="connsiteY194" fmla="*/ 753111 h 1092202"/>
                <a:gd name="connsiteX195" fmla="*/ 669976 w 863600"/>
                <a:gd name="connsiteY195" fmla="*/ 750968 h 1092202"/>
                <a:gd name="connsiteX196" fmla="*/ 673542 w 863600"/>
                <a:gd name="connsiteY196" fmla="*/ 748110 h 1092202"/>
                <a:gd name="connsiteX197" fmla="*/ 677107 w 863600"/>
                <a:gd name="connsiteY197" fmla="*/ 745967 h 1092202"/>
                <a:gd name="connsiteX198" fmla="*/ 680673 w 863600"/>
                <a:gd name="connsiteY198" fmla="*/ 743109 h 1092202"/>
                <a:gd name="connsiteX199" fmla="*/ 683525 w 863600"/>
                <a:gd name="connsiteY199" fmla="*/ 740252 h 1092202"/>
                <a:gd name="connsiteX200" fmla="*/ 687091 w 863600"/>
                <a:gd name="connsiteY200" fmla="*/ 737394 h 1092202"/>
                <a:gd name="connsiteX201" fmla="*/ 689943 w 863600"/>
                <a:gd name="connsiteY201" fmla="*/ 735251 h 1092202"/>
                <a:gd name="connsiteX202" fmla="*/ 696361 w 863600"/>
                <a:gd name="connsiteY202" fmla="*/ 729536 h 1092202"/>
                <a:gd name="connsiteX203" fmla="*/ 699926 w 863600"/>
                <a:gd name="connsiteY203" fmla="*/ 726679 h 1092202"/>
                <a:gd name="connsiteX204" fmla="*/ 702779 w 863600"/>
                <a:gd name="connsiteY204" fmla="*/ 723821 h 1092202"/>
                <a:gd name="connsiteX205" fmla="*/ 706344 w 863600"/>
                <a:gd name="connsiteY205" fmla="*/ 720964 h 1092202"/>
                <a:gd name="connsiteX206" fmla="*/ 709197 w 863600"/>
                <a:gd name="connsiteY206" fmla="*/ 717392 h 1092202"/>
                <a:gd name="connsiteX207" fmla="*/ 712049 w 863600"/>
                <a:gd name="connsiteY207" fmla="*/ 714534 h 1092202"/>
                <a:gd name="connsiteX208" fmla="*/ 715615 w 863600"/>
                <a:gd name="connsiteY208" fmla="*/ 711677 h 1092202"/>
                <a:gd name="connsiteX209" fmla="*/ 718467 w 863600"/>
                <a:gd name="connsiteY209" fmla="*/ 708105 h 1092202"/>
                <a:gd name="connsiteX210" fmla="*/ 723459 w 863600"/>
                <a:gd name="connsiteY210" fmla="*/ 703104 h 1092202"/>
                <a:gd name="connsiteX211" fmla="*/ 727024 w 863600"/>
                <a:gd name="connsiteY211" fmla="*/ 699533 h 1092202"/>
                <a:gd name="connsiteX212" fmla="*/ 729877 w 863600"/>
                <a:gd name="connsiteY212" fmla="*/ 696675 h 1092202"/>
                <a:gd name="connsiteX213" fmla="*/ 732729 w 863600"/>
                <a:gd name="connsiteY213" fmla="*/ 693103 h 1092202"/>
                <a:gd name="connsiteX214" fmla="*/ 735582 w 863600"/>
                <a:gd name="connsiteY214" fmla="*/ 690246 h 1092202"/>
                <a:gd name="connsiteX215" fmla="*/ 737008 w 863600"/>
                <a:gd name="connsiteY215" fmla="*/ 688817 h 1092202"/>
                <a:gd name="connsiteX216" fmla="*/ 738434 w 863600"/>
                <a:gd name="connsiteY216" fmla="*/ 686674 h 1092202"/>
                <a:gd name="connsiteX217" fmla="*/ 741286 w 863600"/>
                <a:gd name="connsiteY217" fmla="*/ 683816 h 1092202"/>
                <a:gd name="connsiteX218" fmla="*/ 743426 w 863600"/>
                <a:gd name="connsiteY218" fmla="*/ 680959 h 1092202"/>
                <a:gd name="connsiteX219" fmla="*/ 744852 w 863600"/>
                <a:gd name="connsiteY219" fmla="*/ 678816 h 1092202"/>
                <a:gd name="connsiteX220" fmla="*/ 748417 w 863600"/>
                <a:gd name="connsiteY220" fmla="*/ 674529 h 1092202"/>
                <a:gd name="connsiteX221" fmla="*/ 749130 w 863600"/>
                <a:gd name="connsiteY221" fmla="*/ 673101 h 1092202"/>
                <a:gd name="connsiteX222" fmla="*/ 749844 w 863600"/>
                <a:gd name="connsiteY222" fmla="*/ 673101 h 1092202"/>
                <a:gd name="connsiteX223" fmla="*/ 751270 w 863600"/>
                <a:gd name="connsiteY223" fmla="*/ 670243 h 1092202"/>
                <a:gd name="connsiteX224" fmla="*/ 754122 w 863600"/>
                <a:gd name="connsiteY224" fmla="*/ 667386 h 1092202"/>
                <a:gd name="connsiteX225" fmla="*/ 755548 w 863600"/>
                <a:gd name="connsiteY225" fmla="*/ 665243 h 1092202"/>
                <a:gd name="connsiteX226" fmla="*/ 756975 w 863600"/>
                <a:gd name="connsiteY226" fmla="*/ 663814 h 1092202"/>
                <a:gd name="connsiteX227" fmla="*/ 759114 w 863600"/>
                <a:gd name="connsiteY227" fmla="*/ 660242 h 1092202"/>
                <a:gd name="connsiteX228" fmla="*/ 761253 w 863600"/>
                <a:gd name="connsiteY228" fmla="*/ 657384 h 1092202"/>
                <a:gd name="connsiteX229" fmla="*/ 761966 w 863600"/>
                <a:gd name="connsiteY229" fmla="*/ 655956 h 1092202"/>
                <a:gd name="connsiteX230" fmla="*/ 764106 w 863600"/>
                <a:gd name="connsiteY230" fmla="*/ 653098 h 1092202"/>
                <a:gd name="connsiteX231" fmla="*/ 766958 w 863600"/>
                <a:gd name="connsiteY231" fmla="*/ 648812 h 1092202"/>
                <a:gd name="connsiteX232" fmla="*/ 768384 w 863600"/>
                <a:gd name="connsiteY232" fmla="*/ 645954 h 1092202"/>
                <a:gd name="connsiteX233" fmla="*/ 770523 w 863600"/>
                <a:gd name="connsiteY233" fmla="*/ 643811 h 1092202"/>
                <a:gd name="connsiteX234" fmla="*/ 771950 w 863600"/>
                <a:gd name="connsiteY234" fmla="*/ 640239 h 1092202"/>
                <a:gd name="connsiteX235" fmla="*/ 773376 w 863600"/>
                <a:gd name="connsiteY235" fmla="*/ 638811 h 1092202"/>
                <a:gd name="connsiteX236" fmla="*/ 775515 w 863600"/>
                <a:gd name="connsiteY236" fmla="*/ 635239 h 1092202"/>
                <a:gd name="connsiteX237" fmla="*/ 777654 w 863600"/>
                <a:gd name="connsiteY237" fmla="*/ 631667 h 1092202"/>
                <a:gd name="connsiteX238" fmla="*/ 777654 w 863600"/>
                <a:gd name="connsiteY238" fmla="*/ 630953 h 1092202"/>
                <a:gd name="connsiteX239" fmla="*/ 779794 w 863600"/>
                <a:gd name="connsiteY239" fmla="*/ 627381 h 1092202"/>
                <a:gd name="connsiteX240" fmla="*/ 781933 w 863600"/>
                <a:gd name="connsiteY240" fmla="*/ 624523 h 1092202"/>
                <a:gd name="connsiteX241" fmla="*/ 781933 w 863600"/>
                <a:gd name="connsiteY241" fmla="*/ 623094 h 1092202"/>
                <a:gd name="connsiteX242" fmla="*/ 782646 w 863600"/>
                <a:gd name="connsiteY242" fmla="*/ 623094 h 1092202"/>
                <a:gd name="connsiteX243" fmla="*/ 784072 w 863600"/>
                <a:gd name="connsiteY243" fmla="*/ 620237 h 1092202"/>
                <a:gd name="connsiteX244" fmla="*/ 785499 w 863600"/>
                <a:gd name="connsiteY244" fmla="*/ 616665 h 1092202"/>
                <a:gd name="connsiteX245" fmla="*/ 786925 w 863600"/>
                <a:gd name="connsiteY245" fmla="*/ 615236 h 1092202"/>
                <a:gd name="connsiteX246" fmla="*/ 788351 w 863600"/>
                <a:gd name="connsiteY246" fmla="*/ 612379 h 1092202"/>
                <a:gd name="connsiteX247" fmla="*/ 789064 w 863600"/>
                <a:gd name="connsiteY247" fmla="*/ 610236 h 1092202"/>
                <a:gd name="connsiteX248" fmla="*/ 789777 w 863600"/>
                <a:gd name="connsiteY248" fmla="*/ 608807 h 1092202"/>
                <a:gd name="connsiteX249" fmla="*/ 791203 w 863600"/>
                <a:gd name="connsiteY249" fmla="*/ 606664 h 1092202"/>
                <a:gd name="connsiteX250" fmla="*/ 791917 w 863600"/>
                <a:gd name="connsiteY250" fmla="*/ 604521 h 1092202"/>
                <a:gd name="connsiteX251" fmla="*/ 793343 w 863600"/>
                <a:gd name="connsiteY251" fmla="*/ 601663 h 1092202"/>
                <a:gd name="connsiteX252" fmla="*/ 794056 w 863600"/>
                <a:gd name="connsiteY252" fmla="*/ 600234 h 1092202"/>
                <a:gd name="connsiteX253" fmla="*/ 794769 w 863600"/>
                <a:gd name="connsiteY253" fmla="*/ 598091 h 1092202"/>
                <a:gd name="connsiteX254" fmla="*/ 795482 w 863600"/>
                <a:gd name="connsiteY254" fmla="*/ 596663 h 1092202"/>
                <a:gd name="connsiteX255" fmla="*/ 797621 w 863600"/>
                <a:gd name="connsiteY255" fmla="*/ 593091 h 1092202"/>
                <a:gd name="connsiteX256" fmla="*/ 797621 w 863600"/>
                <a:gd name="connsiteY256" fmla="*/ 592376 h 1092202"/>
                <a:gd name="connsiteX257" fmla="*/ 799048 w 863600"/>
                <a:gd name="connsiteY257" fmla="*/ 590233 h 1092202"/>
                <a:gd name="connsiteX258" fmla="*/ 799761 w 863600"/>
                <a:gd name="connsiteY258" fmla="*/ 587376 h 1092202"/>
                <a:gd name="connsiteX259" fmla="*/ 800474 w 863600"/>
                <a:gd name="connsiteY259" fmla="*/ 585233 h 1092202"/>
                <a:gd name="connsiteX260" fmla="*/ 801187 w 863600"/>
                <a:gd name="connsiteY260" fmla="*/ 583804 h 1092202"/>
                <a:gd name="connsiteX261" fmla="*/ 802613 w 863600"/>
                <a:gd name="connsiteY261" fmla="*/ 581661 h 1092202"/>
                <a:gd name="connsiteX262" fmla="*/ 804039 w 863600"/>
                <a:gd name="connsiteY262" fmla="*/ 576660 h 1092202"/>
                <a:gd name="connsiteX263" fmla="*/ 804752 w 863600"/>
                <a:gd name="connsiteY263" fmla="*/ 575231 h 1092202"/>
                <a:gd name="connsiteX264" fmla="*/ 804752 w 863600"/>
                <a:gd name="connsiteY264" fmla="*/ 574517 h 1092202"/>
                <a:gd name="connsiteX265" fmla="*/ 805465 w 863600"/>
                <a:gd name="connsiteY265" fmla="*/ 573088 h 1092202"/>
                <a:gd name="connsiteX266" fmla="*/ 807605 w 863600"/>
                <a:gd name="connsiteY266" fmla="*/ 569516 h 1092202"/>
                <a:gd name="connsiteX267" fmla="*/ 808318 w 863600"/>
                <a:gd name="connsiteY267" fmla="*/ 566659 h 1092202"/>
                <a:gd name="connsiteX268" fmla="*/ 808318 w 863600"/>
                <a:gd name="connsiteY268" fmla="*/ 565944 h 1092202"/>
                <a:gd name="connsiteX269" fmla="*/ 810457 w 863600"/>
                <a:gd name="connsiteY269" fmla="*/ 560944 h 1092202"/>
                <a:gd name="connsiteX270" fmla="*/ 811170 w 863600"/>
                <a:gd name="connsiteY270" fmla="*/ 559515 h 1092202"/>
                <a:gd name="connsiteX271" fmla="*/ 811170 w 863600"/>
                <a:gd name="connsiteY271" fmla="*/ 558086 h 1092202"/>
                <a:gd name="connsiteX272" fmla="*/ 811170 w 863600"/>
                <a:gd name="connsiteY272" fmla="*/ 557372 h 1092202"/>
                <a:gd name="connsiteX273" fmla="*/ 813310 w 863600"/>
                <a:gd name="connsiteY273" fmla="*/ 550943 h 1092202"/>
                <a:gd name="connsiteX274" fmla="*/ 814023 w 863600"/>
                <a:gd name="connsiteY274" fmla="*/ 548799 h 1092202"/>
                <a:gd name="connsiteX275" fmla="*/ 816162 w 863600"/>
                <a:gd name="connsiteY275" fmla="*/ 542370 h 1092202"/>
                <a:gd name="connsiteX276" fmla="*/ 816875 w 863600"/>
                <a:gd name="connsiteY276" fmla="*/ 540941 h 1092202"/>
                <a:gd name="connsiteX277" fmla="*/ 816875 w 863600"/>
                <a:gd name="connsiteY277" fmla="*/ 540227 h 1092202"/>
                <a:gd name="connsiteX278" fmla="*/ 817588 w 863600"/>
                <a:gd name="connsiteY278" fmla="*/ 538084 h 1092202"/>
                <a:gd name="connsiteX279" fmla="*/ 818301 w 863600"/>
                <a:gd name="connsiteY279" fmla="*/ 535226 h 1092202"/>
                <a:gd name="connsiteX280" fmla="*/ 819014 w 863600"/>
                <a:gd name="connsiteY280" fmla="*/ 531654 h 1092202"/>
                <a:gd name="connsiteX281" fmla="*/ 819727 w 863600"/>
                <a:gd name="connsiteY281" fmla="*/ 528797 h 1092202"/>
                <a:gd name="connsiteX282" fmla="*/ 820441 w 863600"/>
                <a:gd name="connsiteY282" fmla="*/ 525939 h 1092202"/>
                <a:gd name="connsiteX283" fmla="*/ 821154 w 863600"/>
                <a:gd name="connsiteY283" fmla="*/ 522368 h 1092202"/>
                <a:gd name="connsiteX284" fmla="*/ 821867 w 863600"/>
                <a:gd name="connsiteY284" fmla="*/ 522368 h 1092202"/>
                <a:gd name="connsiteX285" fmla="*/ 821867 w 863600"/>
                <a:gd name="connsiteY285" fmla="*/ 519510 h 1092202"/>
                <a:gd name="connsiteX286" fmla="*/ 822580 w 863600"/>
                <a:gd name="connsiteY286" fmla="*/ 517367 h 1092202"/>
                <a:gd name="connsiteX287" fmla="*/ 823293 w 863600"/>
                <a:gd name="connsiteY287" fmla="*/ 512366 h 1092202"/>
                <a:gd name="connsiteX288" fmla="*/ 824006 w 863600"/>
                <a:gd name="connsiteY288" fmla="*/ 512366 h 1092202"/>
                <a:gd name="connsiteX289" fmla="*/ 824006 w 863600"/>
                <a:gd name="connsiteY289" fmla="*/ 510938 h 1092202"/>
                <a:gd name="connsiteX290" fmla="*/ 824719 w 863600"/>
                <a:gd name="connsiteY290" fmla="*/ 508080 h 1092202"/>
                <a:gd name="connsiteX291" fmla="*/ 825432 w 863600"/>
                <a:gd name="connsiteY291" fmla="*/ 503079 h 1092202"/>
                <a:gd name="connsiteX292" fmla="*/ 825432 w 863600"/>
                <a:gd name="connsiteY292" fmla="*/ 501651 h 1092202"/>
                <a:gd name="connsiteX293" fmla="*/ 826145 w 863600"/>
                <a:gd name="connsiteY293" fmla="*/ 498793 h 1092202"/>
                <a:gd name="connsiteX294" fmla="*/ 826145 w 863600"/>
                <a:gd name="connsiteY294" fmla="*/ 498079 h 1092202"/>
                <a:gd name="connsiteX295" fmla="*/ 826859 w 863600"/>
                <a:gd name="connsiteY295" fmla="*/ 493793 h 1092202"/>
                <a:gd name="connsiteX296" fmla="*/ 827572 w 863600"/>
                <a:gd name="connsiteY296" fmla="*/ 492364 h 1092202"/>
                <a:gd name="connsiteX297" fmla="*/ 827572 w 863600"/>
                <a:gd name="connsiteY297" fmla="*/ 489506 h 1092202"/>
                <a:gd name="connsiteX298" fmla="*/ 827572 w 863600"/>
                <a:gd name="connsiteY298" fmla="*/ 488792 h 1092202"/>
                <a:gd name="connsiteX299" fmla="*/ 828285 w 863600"/>
                <a:gd name="connsiteY299" fmla="*/ 485934 h 1092202"/>
                <a:gd name="connsiteX300" fmla="*/ 828285 w 863600"/>
                <a:gd name="connsiteY300" fmla="*/ 483791 h 1092202"/>
                <a:gd name="connsiteX301" fmla="*/ 828998 w 863600"/>
                <a:gd name="connsiteY301" fmla="*/ 483077 h 1092202"/>
                <a:gd name="connsiteX302" fmla="*/ 828998 w 863600"/>
                <a:gd name="connsiteY302" fmla="*/ 480219 h 1092202"/>
                <a:gd name="connsiteX303" fmla="*/ 828998 w 863600"/>
                <a:gd name="connsiteY303" fmla="*/ 479505 h 1092202"/>
                <a:gd name="connsiteX304" fmla="*/ 829711 w 863600"/>
                <a:gd name="connsiteY304" fmla="*/ 473790 h 1092202"/>
                <a:gd name="connsiteX305" fmla="*/ 829711 w 863600"/>
                <a:gd name="connsiteY305" fmla="*/ 471647 h 1092202"/>
                <a:gd name="connsiteX306" fmla="*/ 830424 w 863600"/>
                <a:gd name="connsiteY306" fmla="*/ 470933 h 1092202"/>
                <a:gd name="connsiteX307" fmla="*/ 830424 w 863600"/>
                <a:gd name="connsiteY307" fmla="*/ 469504 h 1092202"/>
                <a:gd name="connsiteX308" fmla="*/ 830424 w 863600"/>
                <a:gd name="connsiteY308" fmla="*/ 463789 h 1092202"/>
                <a:gd name="connsiteX309" fmla="*/ 831137 w 863600"/>
                <a:gd name="connsiteY309" fmla="*/ 461646 h 1092202"/>
                <a:gd name="connsiteX310" fmla="*/ 831137 w 863600"/>
                <a:gd name="connsiteY310" fmla="*/ 459503 h 1092202"/>
                <a:gd name="connsiteX311" fmla="*/ 831137 w 863600"/>
                <a:gd name="connsiteY311" fmla="*/ 458788 h 1092202"/>
                <a:gd name="connsiteX312" fmla="*/ 831137 w 863600"/>
                <a:gd name="connsiteY312" fmla="*/ 453788 h 1092202"/>
                <a:gd name="connsiteX313" fmla="*/ 831850 w 863600"/>
                <a:gd name="connsiteY313" fmla="*/ 452359 h 1092202"/>
                <a:gd name="connsiteX314" fmla="*/ 831850 w 863600"/>
                <a:gd name="connsiteY314" fmla="*/ 450216 h 1092202"/>
                <a:gd name="connsiteX315" fmla="*/ 831850 w 863600"/>
                <a:gd name="connsiteY315" fmla="*/ 448787 h 1092202"/>
                <a:gd name="connsiteX316" fmla="*/ 831850 w 863600"/>
                <a:gd name="connsiteY316" fmla="*/ 443786 h 1092202"/>
                <a:gd name="connsiteX317" fmla="*/ 831850 w 863600"/>
                <a:gd name="connsiteY317" fmla="*/ 443072 h 1092202"/>
                <a:gd name="connsiteX318" fmla="*/ 831850 w 863600"/>
                <a:gd name="connsiteY318" fmla="*/ 440929 h 1092202"/>
                <a:gd name="connsiteX319" fmla="*/ 831850 w 863600"/>
                <a:gd name="connsiteY319" fmla="*/ 440214 h 1092202"/>
                <a:gd name="connsiteX320" fmla="*/ 831850 w 863600"/>
                <a:gd name="connsiteY320" fmla="*/ 430928 h 1092202"/>
                <a:gd name="connsiteX321" fmla="*/ 431800 w 863600"/>
                <a:gd name="connsiteY321" fmla="*/ 30163 h 1092202"/>
                <a:gd name="connsiteX322" fmla="*/ 431800 w 863600"/>
                <a:gd name="connsiteY322" fmla="*/ 0 h 1092202"/>
                <a:gd name="connsiteX323" fmla="*/ 863600 w 863600"/>
                <a:gd name="connsiteY323" fmla="*/ 430213 h 1092202"/>
                <a:gd name="connsiteX324" fmla="*/ 431800 w 863600"/>
                <a:gd name="connsiteY324" fmla="*/ 860426 h 1092202"/>
                <a:gd name="connsiteX325" fmla="*/ 0 w 863600"/>
                <a:gd name="connsiteY325" fmla="*/ 430213 h 1092202"/>
                <a:gd name="connsiteX326" fmla="*/ 431800 w 863600"/>
                <a:gd name="connsiteY326" fmla="*/ 0 h 1092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Lst>
              <a:rect l="l" t="t" r="r" b="b"/>
              <a:pathLst>
                <a:path w="863600" h="1092202">
                  <a:moveTo>
                    <a:pt x="105189" y="760414"/>
                  </a:moveTo>
                  <a:cubicBezTo>
                    <a:pt x="132341" y="786814"/>
                    <a:pt x="162350" y="809647"/>
                    <a:pt x="194503" y="828199"/>
                  </a:cubicBezTo>
                  <a:cubicBezTo>
                    <a:pt x="263811" y="869583"/>
                    <a:pt x="344551" y="893129"/>
                    <a:pt x="431007" y="893129"/>
                  </a:cubicBezTo>
                  <a:cubicBezTo>
                    <a:pt x="517463" y="893129"/>
                    <a:pt x="598203" y="869583"/>
                    <a:pt x="667510" y="828199"/>
                  </a:cubicBezTo>
                  <a:cubicBezTo>
                    <a:pt x="699663" y="809647"/>
                    <a:pt x="728958" y="786814"/>
                    <a:pt x="756110" y="760414"/>
                  </a:cubicBezTo>
                  <a:cubicBezTo>
                    <a:pt x="756110" y="761128"/>
                    <a:pt x="756110" y="761128"/>
                    <a:pt x="756110" y="761841"/>
                  </a:cubicBezTo>
                  <a:cubicBezTo>
                    <a:pt x="756110" y="791096"/>
                    <a:pt x="741105" y="818209"/>
                    <a:pt x="714668" y="842469"/>
                  </a:cubicBezTo>
                  <a:cubicBezTo>
                    <a:pt x="795408" y="868870"/>
                    <a:pt x="845424" y="906686"/>
                    <a:pt x="846138" y="949498"/>
                  </a:cubicBezTo>
                  <a:cubicBezTo>
                    <a:pt x="846138" y="949498"/>
                    <a:pt x="846138" y="949498"/>
                    <a:pt x="846138" y="1076505"/>
                  </a:cubicBezTo>
                  <a:cubicBezTo>
                    <a:pt x="846138" y="1085067"/>
                    <a:pt x="838993" y="1092202"/>
                    <a:pt x="830419" y="1092202"/>
                  </a:cubicBezTo>
                  <a:cubicBezTo>
                    <a:pt x="830419" y="1092202"/>
                    <a:pt x="830419" y="1092202"/>
                    <a:pt x="31595" y="1092202"/>
                  </a:cubicBezTo>
                  <a:cubicBezTo>
                    <a:pt x="22306" y="1092202"/>
                    <a:pt x="15875" y="1085067"/>
                    <a:pt x="15875" y="1076505"/>
                  </a:cubicBezTo>
                  <a:cubicBezTo>
                    <a:pt x="15875" y="1076505"/>
                    <a:pt x="15875" y="1076505"/>
                    <a:pt x="15875" y="949498"/>
                  </a:cubicBezTo>
                  <a:cubicBezTo>
                    <a:pt x="16590" y="906686"/>
                    <a:pt x="66606" y="868870"/>
                    <a:pt x="146631" y="842469"/>
                  </a:cubicBezTo>
                  <a:cubicBezTo>
                    <a:pt x="120194" y="818209"/>
                    <a:pt x="105189" y="791096"/>
                    <a:pt x="105189" y="761841"/>
                  </a:cubicBezTo>
                  <a:cubicBezTo>
                    <a:pt x="105189" y="761128"/>
                    <a:pt x="105189" y="761128"/>
                    <a:pt x="105189" y="760414"/>
                  </a:cubicBezTo>
                  <a:close/>
                  <a:moveTo>
                    <a:pt x="430366" y="57151"/>
                  </a:moveTo>
                  <a:cubicBezTo>
                    <a:pt x="438942" y="57151"/>
                    <a:pt x="446088" y="64301"/>
                    <a:pt x="446088" y="72880"/>
                  </a:cubicBezTo>
                  <a:cubicBezTo>
                    <a:pt x="446088" y="81460"/>
                    <a:pt x="438942" y="88609"/>
                    <a:pt x="430366" y="88609"/>
                  </a:cubicBezTo>
                  <a:cubicBezTo>
                    <a:pt x="243123" y="88609"/>
                    <a:pt x="90184" y="241611"/>
                    <a:pt x="90184" y="429645"/>
                  </a:cubicBezTo>
                  <a:cubicBezTo>
                    <a:pt x="90184" y="438940"/>
                    <a:pt x="83752" y="446089"/>
                    <a:pt x="74461" y="446089"/>
                  </a:cubicBezTo>
                  <a:cubicBezTo>
                    <a:pt x="65885" y="446089"/>
                    <a:pt x="58738" y="438940"/>
                    <a:pt x="58738" y="429645"/>
                  </a:cubicBezTo>
                  <a:cubicBezTo>
                    <a:pt x="58738" y="224452"/>
                    <a:pt x="225971" y="57151"/>
                    <a:pt x="430366" y="57151"/>
                  </a:cubicBezTo>
                  <a:close/>
                  <a:moveTo>
                    <a:pt x="431800" y="30163"/>
                  </a:moveTo>
                  <a:cubicBezTo>
                    <a:pt x="211452" y="30163"/>
                    <a:pt x="31750" y="210186"/>
                    <a:pt x="31750" y="430928"/>
                  </a:cubicBezTo>
                  <a:cubicBezTo>
                    <a:pt x="31750" y="433785"/>
                    <a:pt x="31750" y="436643"/>
                    <a:pt x="31750" y="440214"/>
                  </a:cubicBezTo>
                  <a:cubicBezTo>
                    <a:pt x="31750" y="440214"/>
                    <a:pt x="31750" y="440214"/>
                    <a:pt x="31750" y="440929"/>
                  </a:cubicBezTo>
                  <a:cubicBezTo>
                    <a:pt x="31750" y="441643"/>
                    <a:pt x="31750" y="442358"/>
                    <a:pt x="31750" y="443072"/>
                  </a:cubicBezTo>
                  <a:cubicBezTo>
                    <a:pt x="31750" y="443072"/>
                    <a:pt x="31750" y="443072"/>
                    <a:pt x="31750" y="443786"/>
                  </a:cubicBezTo>
                  <a:cubicBezTo>
                    <a:pt x="31750" y="445929"/>
                    <a:pt x="31750" y="447358"/>
                    <a:pt x="31750" y="448787"/>
                  </a:cubicBezTo>
                  <a:cubicBezTo>
                    <a:pt x="31750" y="449501"/>
                    <a:pt x="31750" y="449501"/>
                    <a:pt x="31750" y="450216"/>
                  </a:cubicBezTo>
                  <a:cubicBezTo>
                    <a:pt x="31750" y="450930"/>
                    <a:pt x="31750" y="451644"/>
                    <a:pt x="31750" y="452359"/>
                  </a:cubicBezTo>
                  <a:cubicBezTo>
                    <a:pt x="31750" y="453073"/>
                    <a:pt x="32463" y="453073"/>
                    <a:pt x="32463" y="453788"/>
                  </a:cubicBezTo>
                  <a:cubicBezTo>
                    <a:pt x="32463" y="455216"/>
                    <a:pt x="32463" y="457359"/>
                    <a:pt x="32463" y="458788"/>
                  </a:cubicBezTo>
                  <a:cubicBezTo>
                    <a:pt x="32463" y="458788"/>
                    <a:pt x="32463" y="458788"/>
                    <a:pt x="32463" y="459503"/>
                  </a:cubicBezTo>
                  <a:cubicBezTo>
                    <a:pt x="32463" y="460217"/>
                    <a:pt x="32463" y="460931"/>
                    <a:pt x="32463" y="461646"/>
                  </a:cubicBezTo>
                  <a:cubicBezTo>
                    <a:pt x="32463" y="462360"/>
                    <a:pt x="32463" y="463074"/>
                    <a:pt x="33176" y="463789"/>
                  </a:cubicBezTo>
                  <a:cubicBezTo>
                    <a:pt x="33176" y="465932"/>
                    <a:pt x="33176" y="467361"/>
                    <a:pt x="33176" y="469504"/>
                  </a:cubicBezTo>
                  <a:cubicBezTo>
                    <a:pt x="33176" y="470218"/>
                    <a:pt x="33176" y="470218"/>
                    <a:pt x="33176" y="470933"/>
                  </a:cubicBezTo>
                  <a:cubicBezTo>
                    <a:pt x="33176" y="470933"/>
                    <a:pt x="33176" y="470933"/>
                    <a:pt x="33890" y="471647"/>
                  </a:cubicBezTo>
                  <a:cubicBezTo>
                    <a:pt x="33890" y="472361"/>
                    <a:pt x="33890" y="473076"/>
                    <a:pt x="33890" y="473790"/>
                  </a:cubicBezTo>
                  <a:cubicBezTo>
                    <a:pt x="33890" y="475933"/>
                    <a:pt x="33890" y="477362"/>
                    <a:pt x="34603" y="479505"/>
                  </a:cubicBezTo>
                  <a:cubicBezTo>
                    <a:pt x="34603" y="479505"/>
                    <a:pt x="34603" y="479505"/>
                    <a:pt x="34603" y="480219"/>
                  </a:cubicBezTo>
                  <a:cubicBezTo>
                    <a:pt x="34603" y="480934"/>
                    <a:pt x="34603" y="482363"/>
                    <a:pt x="34603" y="483077"/>
                  </a:cubicBezTo>
                  <a:cubicBezTo>
                    <a:pt x="34603" y="483077"/>
                    <a:pt x="34603" y="483077"/>
                    <a:pt x="35316" y="483791"/>
                  </a:cubicBezTo>
                  <a:cubicBezTo>
                    <a:pt x="35316" y="484506"/>
                    <a:pt x="35316" y="485220"/>
                    <a:pt x="35316" y="485934"/>
                  </a:cubicBezTo>
                  <a:cubicBezTo>
                    <a:pt x="35316" y="487363"/>
                    <a:pt x="35316" y="488078"/>
                    <a:pt x="36029" y="488792"/>
                  </a:cubicBezTo>
                  <a:cubicBezTo>
                    <a:pt x="36029" y="488792"/>
                    <a:pt x="36029" y="488792"/>
                    <a:pt x="36029" y="489506"/>
                  </a:cubicBezTo>
                  <a:cubicBezTo>
                    <a:pt x="36029" y="490221"/>
                    <a:pt x="36029" y="491649"/>
                    <a:pt x="36029" y="492364"/>
                  </a:cubicBezTo>
                  <a:cubicBezTo>
                    <a:pt x="36029" y="493078"/>
                    <a:pt x="36742" y="493078"/>
                    <a:pt x="36742" y="493793"/>
                  </a:cubicBezTo>
                  <a:cubicBezTo>
                    <a:pt x="36742" y="495221"/>
                    <a:pt x="36742" y="496650"/>
                    <a:pt x="37455" y="498079"/>
                  </a:cubicBezTo>
                  <a:cubicBezTo>
                    <a:pt x="37455" y="498793"/>
                    <a:pt x="37455" y="498793"/>
                    <a:pt x="37455" y="498793"/>
                  </a:cubicBezTo>
                  <a:cubicBezTo>
                    <a:pt x="37455" y="500222"/>
                    <a:pt x="37455" y="500936"/>
                    <a:pt x="38168" y="501651"/>
                  </a:cubicBezTo>
                  <a:cubicBezTo>
                    <a:pt x="38168" y="502365"/>
                    <a:pt x="38168" y="502365"/>
                    <a:pt x="38168" y="503079"/>
                  </a:cubicBezTo>
                  <a:cubicBezTo>
                    <a:pt x="38168" y="504508"/>
                    <a:pt x="38881" y="505937"/>
                    <a:pt x="38881" y="508080"/>
                  </a:cubicBezTo>
                  <a:cubicBezTo>
                    <a:pt x="38881" y="508794"/>
                    <a:pt x="39594" y="509509"/>
                    <a:pt x="39594" y="510938"/>
                  </a:cubicBezTo>
                  <a:cubicBezTo>
                    <a:pt x="39594" y="510938"/>
                    <a:pt x="39594" y="511652"/>
                    <a:pt x="39594" y="512366"/>
                  </a:cubicBezTo>
                  <a:cubicBezTo>
                    <a:pt x="39594" y="512366"/>
                    <a:pt x="39594" y="512366"/>
                    <a:pt x="40307" y="512366"/>
                  </a:cubicBezTo>
                  <a:cubicBezTo>
                    <a:pt x="40307" y="513795"/>
                    <a:pt x="40307" y="515938"/>
                    <a:pt x="41021" y="517367"/>
                  </a:cubicBezTo>
                  <a:cubicBezTo>
                    <a:pt x="41021" y="518081"/>
                    <a:pt x="41021" y="518796"/>
                    <a:pt x="41734" y="519510"/>
                  </a:cubicBezTo>
                  <a:cubicBezTo>
                    <a:pt x="41734" y="520224"/>
                    <a:pt x="41734" y="520939"/>
                    <a:pt x="41734" y="522368"/>
                  </a:cubicBezTo>
                  <a:cubicBezTo>
                    <a:pt x="42447" y="522368"/>
                    <a:pt x="42447" y="522368"/>
                    <a:pt x="42447" y="522368"/>
                  </a:cubicBezTo>
                  <a:cubicBezTo>
                    <a:pt x="42447" y="523796"/>
                    <a:pt x="42447" y="525225"/>
                    <a:pt x="43160" y="525939"/>
                  </a:cubicBezTo>
                  <a:cubicBezTo>
                    <a:pt x="43160" y="526654"/>
                    <a:pt x="43160" y="528083"/>
                    <a:pt x="43873" y="528797"/>
                  </a:cubicBezTo>
                  <a:cubicBezTo>
                    <a:pt x="43873" y="529511"/>
                    <a:pt x="43873" y="530226"/>
                    <a:pt x="44586" y="531654"/>
                  </a:cubicBezTo>
                  <a:cubicBezTo>
                    <a:pt x="44586" y="533083"/>
                    <a:pt x="45299" y="533798"/>
                    <a:pt x="45299" y="535226"/>
                  </a:cubicBezTo>
                  <a:cubicBezTo>
                    <a:pt x="45299" y="535941"/>
                    <a:pt x="46012" y="536655"/>
                    <a:pt x="46012" y="538084"/>
                  </a:cubicBezTo>
                  <a:cubicBezTo>
                    <a:pt x="46012" y="538798"/>
                    <a:pt x="46725" y="539513"/>
                    <a:pt x="46725" y="540227"/>
                  </a:cubicBezTo>
                  <a:cubicBezTo>
                    <a:pt x="46725" y="540227"/>
                    <a:pt x="46725" y="540227"/>
                    <a:pt x="46725" y="540941"/>
                  </a:cubicBezTo>
                  <a:cubicBezTo>
                    <a:pt x="47438" y="541656"/>
                    <a:pt x="47438" y="542370"/>
                    <a:pt x="47438" y="542370"/>
                  </a:cubicBezTo>
                  <a:cubicBezTo>
                    <a:pt x="48152" y="544513"/>
                    <a:pt x="48865" y="546656"/>
                    <a:pt x="49578" y="548799"/>
                  </a:cubicBezTo>
                  <a:cubicBezTo>
                    <a:pt x="49578" y="549514"/>
                    <a:pt x="49578" y="550228"/>
                    <a:pt x="50291" y="550943"/>
                  </a:cubicBezTo>
                  <a:cubicBezTo>
                    <a:pt x="51004" y="553086"/>
                    <a:pt x="51717" y="555229"/>
                    <a:pt x="52430" y="557372"/>
                  </a:cubicBezTo>
                  <a:cubicBezTo>
                    <a:pt x="52430" y="557372"/>
                    <a:pt x="52430" y="557372"/>
                    <a:pt x="52430" y="558086"/>
                  </a:cubicBezTo>
                  <a:cubicBezTo>
                    <a:pt x="52430" y="558801"/>
                    <a:pt x="52430" y="558801"/>
                    <a:pt x="52430" y="559515"/>
                  </a:cubicBezTo>
                  <a:cubicBezTo>
                    <a:pt x="53143" y="559515"/>
                    <a:pt x="53143" y="560229"/>
                    <a:pt x="53143" y="560944"/>
                  </a:cubicBezTo>
                  <a:cubicBezTo>
                    <a:pt x="53856" y="562373"/>
                    <a:pt x="54570" y="564516"/>
                    <a:pt x="55283" y="565944"/>
                  </a:cubicBezTo>
                  <a:cubicBezTo>
                    <a:pt x="55283" y="566659"/>
                    <a:pt x="55283" y="566659"/>
                    <a:pt x="55283" y="566659"/>
                  </a:cubicBezTo>
                  <a:cubicBezTo>
                    <a:pt x="55996" y="567373"/>
                    <a:pt x="55996" y="568802"/>
                    <a:pt x="55996" y="569516"/>
                  </a:cubicBezTo>
                  <a:cubicBezTo>
                    <a:pt x="56709" y="570231"/>
                    <a:pt x="57422" y="571659"/>
                    <a:pt x="58135" y="573088"/>
                  </a:cubicBezTo>
                  <a:cubicBezTo>
                    <a:pt x="58135" y="573803"/>
                    <a:pt x="58135" y="573803"/>
                    <a:pt x="58848" y="574517"/>
                  </a:cubicBezTo>
                  <a:cubicBezTo>
                    <a:pt x="58848" y="574517"/>
                    <a:pt x="58848" y="574517"/>
                    <a:pt x="58848" y="575231"/>
                  </a:cubicBezTo>
                  <a:cubicBezTo>
                    <a:pt x="58848" y="575946"/>
                    <a:pt x="59561" y="575946"/>
                    <a:pt x="59561" y="576660"/>
                  </a:cubicBezTo>
                  <a:cubicBezTo>
                    <a:pt x="60274" y="578803"/>
                    <a:pt x="60987" y="580232"/>
                    <a:pt x="60987" y="581661"/>
                  </a:cubicBezTo>
                  <a:cubicBezTo>
                    <a:pt x="61701" y="582375"/>
                    <a:pt x="61701" y="583089"/>
                    <a:pt x="62414" y="583804"/>
                  </a:cubicBezTo>
                  <a:cubicBezTo>
                    <a:pt x="62414" y="583804"/>
                    <a:pt x="62414" y="584518"/>
                    <a:pt x="63127" y="585233"/>
                  </a:cubicBezTo>
                  <a:cubicBezTo>
                    <a:pt x="63127" y="585947"/>
                    <a:pt x="63840" y="586661"/>
                    <a:pt x="63840" y="587376"/>
                  </a:cubicBezTo>
                  <a:cubicBezTo>
                    <a:pt x="64553" y="588090"/>
                    <a:pt x="64553" y="588804"/>
                    <a:pt x="64553" y="590233"/>
                  </a:cubicBezTo>
                  <a:cubicBezTo>
                    <a:pt x="65266" y="590948"/>
                    <a:pt x="65266" y="591662"/>
                    <a:pt x="65979" y="592376"/>
                  </a:cubicBezTo>
                  <a:cubicBezTo>
                    <a:pt x="65979" y="592376"/>
                    <a:pt x="65979" y="592376"/>
                    <a:pt x="65979" y="593091"/>
                  </a:cubicBezTo>
                  <a:cubicBezTo>
                    <a:pt x="66692" y="594519"/>
                    <a:pt x="67405" y="595234"/>
                    <a:pt x="68118" y="596663"/>
                  </a:cubicBezTo>
                  <a:cubicBezTo>
                    <a:pt x="68118" y="597377"/>
                    <a:pt x="68118" y="597377"/>
                    <a:pt x="68832" y="598091"/>
                  </a:cubicBezTo>
                  <a:cubicBezTo>
                    <a:pt x="68832" y="598806"/>
                    <a:pt x="69545" y="599520"/>
                    <a:pt x="69545" y="600234"/>
                  </a:cubicBezTo>
                  <a:cubicBezTo>
                    <a:pt x="69545" y="600949"/>
                    <a:pt x="70258" y="600949"/>
                    <a:pt x="70258" y="601663"/>
                  </a:cubicBezTo>
                  <a:cubicBezTo>
                    <a:pt x="70971" y="602378"/>
                    <a:pt x="70971" y="603806"/>
                    <a:pt x="71684" y="604521"/>
                  </a:cubicBezTo>
                  <a:cubicBezTo>
                    <a:pt x="71684" y="605235"/>
                    <a:pt x="72397" y="605949"/>
                    <a:pt x="72397" y="606664"/>
                  </a:cubicBezTo>
                  <a:cubicBezTo>
                    <a:pt x="73110" y="607378"/>
                    <a:pt x="73110" y="608093"/>
                    <a:pt x="73823" y="608807"/>
                  </a:cubicBezTo>
                  <a:cubicBezTo>
                    <a:pt x="73823" y="608807"/>
                    <a:pt x="73823" y="609521"/>
                    <a:pt x="74536" y="610236"/>
                  </a:cubicBezTo>
                  <a:cubicBezTo>
                    <a:pt x="74536" y="610950"/>
                    <a:pt x="75249" y="611664"/>
                    <a:pt x="75249" y="612379"/>
                  </a:cubicBezTo>
                  <a:cubicBezTo>
                    <a:pt x="75963" y="613093"/>
                    <a:pt x="76676" y="614522"/>
                    <a:pt x="76676" y="615236"/>
                  </a:cubicBezTo>
                  <a:cubicBezTo>
                    <a:pt x="77389" y="615236"/>
                    <a:pt x="77389" y="615951"/>
                    <a:pt x="78102" y="616665"/>
                  </a:cubicBezTo>
                  <a:cubicBezTo>
                    <a:pt x="78102" y="617379"/>
                    <a:pt x="78815" y="618808"/>
                    <a:pt x="79528" y="620237"/>
                  </a:cubicBezTo>
                  <a:cubicBezTo>
                    <a:pt x="80241" y="620951"/>
                    <a:pt x="80954" y="621666"/>
                    <a:pt x="80954" y="623094"/>
                  </a:cubicBezTo>
                  <a:cubicBezTo>
                    <a:pt x="80954" y="623094"/>
                    <a:pt x="80954" y="623094"/>
                    <a:pt x="81667" y="623094"/>
                  </a:cubicBezTo>
                  <a:cubicBezTo>
                    <a:pt x="81667" y="623809"/>
                    <a:pt x="81667" y="623809"/>
                    <a:pt x="81667" y="624523"/>
                  </a:cubicBezTo>
                  <a:cubicBezTo>
                    <a:pt x="82380" y="625238"/>
                    <a:pt x="83094" y="626666"/>
                    <a:pt x="83807" y="627381"/>
                  </a:cubicBezTo>
                  <a:cubicBezTo>
                    <a:pt x="84520" y="628809"/>
                    <a:pt x="85233" y="629524"/>
                    <a:pt x="85946" y="630953"/>
                  </a:cubicBezTo>
                  <a:cubicBezTo>
                    <a:pt x="85946" y="630953"/>
                    <a:pt x="85946" y="630953"/>
                    <a:pt x="85946" y="631667"/>
                  </a:cubicBezTo>
                  <a:cubicBezTo>
                    <a:pt x="86659" y="633096"/>
                    <a:pt x="87372" y="633810"/>
                    <a:pt x="88085" y="635239"/>
                  </a:cubicBezTo>
                  <a:cubicBezTo>
                    <a:pt x="88798" y="636668"/>
                    <a:pt x="89511" y="637382"/>
                    <a:pt x="90225" y="638811"/>
                  </a:cubicBezTo>
                  <a:cubicBezTo>
                    <a:pt x="90938" y="638811"/>
                    <a:pt x="90938" y="639525"/>
                    <a:pt x="91651" y="640239"/>
                  </a:cubicBezTo>
                  <a:cubicBezTo>
                    <a:pt x="92364" y="641668"/>
                    <a:pt x="92364" y="642383"/>
                    <a:pt x="93077" y="643811"/>
                  </a:cubicBezTo>
                  <a:cubicBezTo>
                    <a:pt x="93790" y="644526"/>
                    <a:pt x="94503" y="645240"/>
                    <a:pt x="95216" y="645954"/>
                  </a:cubicBezTo>
                  <a:cubicBezTo>
                    <a:pt x="95216" y="646669"/>
                    <a:pt x="95929" y="648098"/>
                    <a:pt x="96642" y="648812"/>
                  </a:cubicBezTo>
                  <a:cubicBezTo>
                    <a:pt x="97356" y="650241"/>
                    <a:pt x="98782" y="651669"/>
                    <a:pt x="99495" y="653098"/>
                  </a:cubicBezTo>
                  <a:cubicBezTo>
                    <a:pt x="100208" y="653813"/>
                    <a:pt x="100921" y="655241"/>
                    <a:pt x="101634" y="655956"/>
                  </a:cubicBezTo>
                  <a:cubicBezTo>
                    <a:pt x="101634" y="656670"/>
                    <a:pt x="102347" y="656670"/>
                    <a:pt x="102347" y="657384"/>
                  </a:cubicBezTo>
                  <a:cubicBezTo>
                    <a:pt x="103060" y="658099"/>
                    <a:pt x="103774" y="659528"/>
                    <a:pt x="104487" y="660242"/>
                  </a:cubicBezTo>
                  <a:cubicBezTo>
                    <a:pt x="105200" y="660956"/>
                    <a:pt x="105913" y="662385"/>
                    <a:pt x="106626" y="663814"/>
                  </a:cubicBezTo>
                  <a:cubicBezTo>
                    <a:pt x="107339" y="663814"/>
                    <a:pt x="107339" y="664528"/>
                    <a:pt x="108052" y="665243"/>
                  </a:cubicBezTo>
                  <a:cubicBezTo>
                    <a:pt x="108765" y="665957"/>
                    <a:pt x="109478" y="666671"/>
                    <a:pt x="109478" y="667386"/>
                  </a:cubicBezTo>
                  <a:cubicBezTo>
                    <a:pt x="110191" y="668100"/>
                    <a:pt x="110905" y="669529"/>
                    <a:pt x="112331" y="670243"/>
                  </a:cubicBezTo>
                  <a:cubicBezTo>
                    <a:pt x="113044" y="671672"/>
                    <a:pt x="113044" y="672386"/>
                    <a:pt x="113757" y="673101"/>
                  </a:cubicBezTo>
                  <a:cubicBezTo>
                    <a:pt x="113757" y="673101"/>
                    <a:pt x="113757" y="673101"/>
                    <a:pt x="114470" y="673101"/>
                  </a:cubicBezTo>
                  <a:cubicBezTo>
                    <a:pt x="114470" y="673815"/>
                    <a:pt x="115183" y="674529"/>
                    <a:pt x="115183" y="674529"/>
                  </a:cubicBezTo>
                  <a:cubicBezTo>
                    <a:pt x="116609" y="675958"/>
                    <a:pt x="117322" y="677387"/>
                    <a:pt x="118749" y="678816"/>
                  </a:cubicBezTo>
                  <a:cubicBezTo>
                    <a:pt x="119462" y="679530"/>
                    <a:pt x="119462" y="680244"/>
                    <a:pt x="120175" y="680959"/>
                  </a:cubicBezTo>
                  <a:cubicBezTo>
                    <a:pt x="120888" y="682388"/>
                    <a:pt x="121601" y="683102"/>
                    <a:pt x="122314" y="683816"/>
                  </a:cubicBezTo>
                  <a:cubicBezTo>
                    <a:pt x="123027" y="684531"/>
                    <a:pt x="124453" y="685959"/>
                    <a:pt x="125167" y="686674"/>
                  </a:cubicBezTo>
                  <a:cubicBezTo>
                    <a:pt x="125880" y="687388"/>
                    <a:pt x="125880" y="688103"/>
                    <a:pt x="126593" y="688817"/>
                  </a:cubicBezTo>
                  <a:cubicBezTo>
                    <a:pt x="127306" y="689531"/>
                    <a:pt x="127306" y="690246"/>
                    <a:pt x="128019" y="690246"/>
                  </a:cubicBezTo>
                  <a:cubicBezTo>
                    <a:pt x="128732" y="690960"/>
                    <a:pt x="130158" y="691674"/>
                    <a:pt x="130871" y="693103"/>
                  </a:cubicBezTo>
                  <a:cubicBezTo>
                    <a:pt x="131584" y="693818"/>
                    <a:pt x="133011" y="695246"/>
                    <a:pt x="133724" y="696675"/>
                  </a:cubicBezTo>
                  <a:cubicBezTo>
                    <a:pt x="134437" y="697389"/>
                    <a:pt x="135863" y="698818"/>
                    <a:pt x="136576" y="699533"/>
                  </a:cubicBezTo>
                  <a:cubicBezTo>
                    <a:pt x="138002" y="700961"/>
                    <a:pt x="138715" y="701676"/>
                    <a:pt x="140142" y="703104"/>
                  </a:cubicBezTo>
                  <a:cubicBezTo>
                    <a:pt x="141568" y="704533"/>
                    <a:pt x="142994" y="706676"/>
                    <a:pt x="145133" y="708105"/>
                  </a:cubicBezTo>
                  <a:cubicBezTo>
                    <a:pt x="145847" y="709534"/>
                    <a:pt x="147273" y="710248"/>
                    <a:pt x="147986" y="711677"/>
                  </a:cubicBezTo>
                  <a:cubicBezTo>
                    <a:pt x="149412" y="712391"/>
                    <a:pt x="150125" y="713820"/>
                    <a:pt x="151551" y="714534"/>
                  </a:cubicBezTo>
                  <a:cubicBezTo>
                    <a:pt x="152264" y="715963"/>
                    <a:pt x="152978" y="716678"/>
                    <a:pt x="154404" y="717392"/>
                  </a:cubicBezTo>
                  <a:cubicBezTo>
                    <a:pt x="155117" y="718821"/>
                    <a:pt x="156543" y="719535"/>
                    <a:pt x="157256" y="720964"/>
                  </a:cubicBezTo>
                  <a:cubicBezTo>
                    <a:pt x="158682" y="721678"/>
                    <a:pt x="159395" y="722393"/>
                    <a:pt x="160822" y="723821"/>
                  </a:cubicBezTo>
                  <a:cubicBezTo>
                    <a:pt x="161535" y="724536"/>
                    <a:pt x="162961" y="725964"/>
                    <a:pt x="163674" y="726679"/>
                  </a:cubicBezTo>
                  <a:cubicBezTo>
                    <a:pt x="165100" y="727393"/>
                    <a:pt x="165813" y="728822"/>
                    <a:pt x="167240" y="729536"/>
                  </a:cubicBezTo>
                  <a:cubicBezTo>
                    <a:pt x="169379" y="730965"/>
                    <a:pt x="171518" y="733108"/>
                    <a:pt x="173657" y="735251"/>
                  </a:cubicBezTo>
                  <a:cubicBezTo>
                    <a:pt x="174371" y="735966"/>
                    <a:pt x="175084" y="736680"/>
                    <a:pt x="176510" y="737394"/>
                  </a:cubicBezTo>
                  <a:cubicBezTo>
                    <a:pt x="177223" y="738823"/>
                    <a:pt x="178649" y="739538"/>
                    <a:pt x="180075" y="740252"/>
                  </a:cubicBezTo>
                  <a:cubicBezTo>
                    <a:pt x="180788" y="740966"/>
                    <a:pt x="182215" y="742395"/>
                    <a:pt x="182928" y="743109"/>
                  </a:cubicBezTo>
                  <a:cubicBezTo>
                    <a:pt x="184354" y="743824"/>
                    <a:pt x="185780" y="745253"/>
                    <a:pt x="186493" y="745967"/>
                  </a:cubicBezTo>
                  <a:cubicBezTo>
                    <a:pt x="187919" y="746681"/>
                    <a:pt x="188633" y="747396"/>
                    <a:pt x="190059" y="748110"/>
                  </a:cubicBezTo>
                  <a:cubicBezTo>
                    <a:pt x="190772" y="748824"/>
                    <a:pt x="192198" y="750253"/>
                    <a:pt x="193624" y="750968"/>
                  </a:cubicBezTo>
                  <a:cubicBezTo>
                    <a:pt x="194337" y="751682"/>
                    <a:pt x="195051" y="752396"/>
                    <a:pt x="196477" y="753111"/>
                  </a:cubicBezTo>
                  <a:cubicBezTo>
                    <a:pt x="198616" y="755254"/>
                    <a:pt x="201468" y="756683"/>
                    <a:pt x="204321" y="758826"/>
                  </a:cubicBezTo>
                  <a:cubicBezTo>
                    <a:pt x="205034" y="759540"/>
                    <a:pt x="205747" y="760254"/>
                    <a:pt x="207173" y="760254"/>
                  </a:cubicBezTo>
                  <a:cubicBezTo>
                    <a:pt x="208599" y="761683"/>
                    <a:pt x="210026" y="762398"/>
                    <a:pt x="211452" y="763112"/>
                  </a:cubicBezTo>
                  <a:cubicBezTo>
                    <a:pt x="212165" y="763826"/>
                    <a:pt x="212878" y="764541"/>
                    <a:pt x="214304" y="765255"/>
                  </a:cubicBezTo>
                  <a:cubicBezTo>
                    <a:pt x="215730" y="765969"/>
                    <a:pt x="217157" y="767398"/>
                    <a:pt x="218583" y="768113"/>
                  </a:cubicBezTo>
                  <a:cubicBezTo>
                    <a:pt x="219296" y="768827"/>
                    <a:pt x="220009" y="769541"/>
                    <a:pt x="221435" y="770256"/>
                  </a:cubicBezTo>
                  <a:cubicBezTo>
                    <a:pt x="222861" y="770970"/>
                    <a:pt x="224288" y="771684"/>
                    <a:pt x="225714" y="772399"/>
                  </a:cubicBezTo>
                  <a:cubicBezTo>
                    <a:pt x="225714" y="773113"/>
                    <a:pt x="225714" y="773113"/>
                    <a:pt x="226427" y="773113"/>
                  </a:cubicBezTo>
                  <a:cubicBezTo>
                    <a:pt x="229992" y="775256"/>
                    <a:pt x="233558" y="777399"/>
                    <a:pt x="237124" y="779543"/>
                  </a:cubicBezTo>
                  <a:cubicBezTo>
                    <a:pt x="237837" y="779543"/>
                    <a:pt x="238550" y="780257"/>
                    <a:pt x="239976" y="780971"/>
                  </a:cubicBezTo>
                  <a:cubicBezTo>
                    <a:pt x="241402" y="781686"/>
                    <a:pt x="242828" y="782400"/>
                    <a:pt x="244255" y="783114"/>
                  </a:cubicBezTo>
                  <a:cubicBezTo>
                    <a:pt x="245681" y="783829"/>
                    <a:pt x="246394" y="784543"/>
                    <a:pt x="247107" y="784543"/>
                  </a:cubicBezTo>
                  <a:cubicBezTo>
                    <a:pt x="248533" y="785972"/>
                    <a:pt x="250672" y="786686"/>
                    <a:pt x="252099" y="787401"/>
                  </a:cubicBezTo>
                  <a:cubicBezTo>
                    <a:pt x="252812" y="788115"/>
                    <a:pt x="254238" y="788115"/>
                    <a:pt x="254951" y="788829"/>
                  </a:cubicBezTo>
                  <a:cubicBezTo>
                    <a:pt x="260656" y="791687"/>
                    <a:pt x="264934" y="793830"/>
                    <a:pt x="270639" y="796688"/>
                  </a:cubicBezTo>
                  <a:cubicBezTo>
                    <a:pt x="272065" y="796688"/>
                    <a:pt x="272779" y="797402"/>
                    <a:pt x="273492" y="798116"/>
                  </a:cubicBezTo>
                  <a:cubicBezTo>
                    <a:pt x="275631" y="798831"/>
                    <a:pt x="277057" y="799545"/>
                    <a:pt x="278483" y="800259"/>
                  </a:cubicBezTo>
                  <a:cubicBezTo>
                    <a:pt x="279910" y="800259"/>
                    <a:pt x="280623" y="800974"/>
                    <a:pt x="282049" y="800974"/>
                  </a:cubicBezTo>
                  <a:cubicBezTo>
                    <a:pt x="283475" y="801688"/>
                    <a:pt x="284901" y="802403"/>
                    <a:pt x="287041" y="803117"/>
                  </a:cubicBezTo>
                  <a:cubicBezTo>
                    <a:pt x="287754" y="803831"/>
                    <a:pt x="288467" y="803831"/>
                    <a:pt x="289893" y="804546"/>
                  </a:cubicBezTo>
                  <a:cubicBezTo>
                    <a:pt x="293459" y="805974"/>
                    <a:pt x="297737" y="807403"/>
                    <a:pt x="302016" y="808832"/>
                  </a:cubicBezTo>
                  <a:cubicBezTo>
                    <a:pt x="342663" y="822405"/>
                    <a:pt x="386162" y="830263"/>
                    <a:pt x="431800" y="830263"/>
                  </a:cubicBezTo>
                  <a:cubicBezTo>
                    <a:pt x="477439" y="830263"/>
                    <a:pt x="520938" y="822405"/>
                    <a:pt x="561585" y="808832"/>
                  </a:cubicBezTo>
                  <a:cubicBezTo>
                    <a:pt x="565863" y="807403"/>
                    <a:pt x="570142" y="805974"/>
                    <a:pt x="573707" y="804546"/>
                  </a:cubicBezTo>
                  <a:cubicBezTo>
                    <a:pt x="575134" y="803831"/>
                    <a:pt x="575847" y="803831"/>
                    <a:pt x="576560" y="803117"/>
                  </a:cubicBezTo>
                  <a:cubicBezTo>
                    <a:pt x="578699" y="802403"/>
                    <a:pt x="580125" y="801688"/>
                    <a:pt x="581552" y="800974"/>
                  </a:cubicBezTo>
                  <a:cubicBezTo>
                    <a:pt x="582978" y="800974"/>
                    <a:pt x="583691" y="800259"/>
                    <a:pt x="585117" y="800259"/>
                  </a:cubicBezTo>
                  <a:cubicBezTo>
                    <a:pt x="586543" y="799545"/>
                    <a:pt x="587969" y="798831"/>
                    <a:pt x="590109" y="798116"/>
                  </a:cubicBezTo>
                  <a:cubicBezTo>
                    <a:pt x="590822" y="797402"/>
                    <a:pt x="591535" y="796688"/>
                    <a:pt x="592961" y="796688"/>
                  </a:cubicBezTo>
                  <a:cubicBezTo>
                    <a:pt x="598666" y="793830"/>
                    <a:pt x="602945" y="791687"/>
                    <a:pt x="608649" y="788829"/>
                  </a:cubicBezTo>
                  <a:cubicBezTo>
                    <a:pt x="609363" y="788115"/>
                    <a:pt x="610789" y="788115"/>
                    <a:pt x="611502" y="787401"/>
                  </a:cubicBezTo>
                  <a:cubicBezTo>
                    <a:pt x="612928" y="786686"/>
                    <a:pt x="615067" y="785972"/>
                    <a:pt x="616494" y="784543"/>
                  </a:cubicBezTo>
                  <a:cubicBezTo>
                    <a:pt x="617207" y="784543"/>
                    <a:pt x="617920" y="783829"/>
                    <a:pt x="619346" y="783114"/>
                  </a:cubicBezTo>
                  <a:cubicBezTo>
                    <a:pt x="620772" y="782400"/>
                    <a:pt x="622198" y="781686"/>
                    <a:pt x="623625" y="780971"/>
                  </a:cubicBezTo>
                  <a:cubicBezTo>
                    <a:pt x="625051" y="780257"/>
                    <a:pt x="625764" y="779543"/>
                    <a:pt x="626477" y="779543"/>
                  </a:cubicBezTo>
                  <a:cubicBezTo>
                    <a:pt x="630042" y="777399"/>
                    <a:pt x="633608" y="775256"/>
                    <a:pt x="637173" y="773113"/>
                  </a:cubicBezTo>
                  <a:cubicBezTo>
                    <a:pt x="637887" y="773113"/>
                    <a:pt x="637887" y="773113"/>
                    <a:pt x="637887" y="772399"/>
                  </a:cubicBezTo>
                  <a:cubicBezTo>
                    <a:pt x="639313" y="771684"/>
                    <a:pt x="640739" y="770970"/>
                    <a:pt x="642165" y="770256"/>
                  </a:cubicBezTo>
                  <a:cubicBezTo>
                    <a:pt x="643591" y="769541"/>
                    <a:pt x="644304" y="768827"/>
                    <a:pt x="645018" y="768113"/>
                  </a:cubicBezTo>
                  <a:cubicBezTo>
                    <a:pt x="646444" y="767398"/>
                    <a:pt x="647870" y="765969"/>
                    <a:pt x="649296" y="765255"/>
                  </a:cubicBezTo>
                  <a:cubicBezTo>
                    <a:pt x="650722" y="764541"/>
                    <a:pt x="651436" y="763826"/>
                    <a:pt x="652149" y="763112"/>
                  </a:cubicBezTo>
                  <a:cubicBezTo>
                    <a:pt x="653575" y="762398"/>
                    <a:pt x="655001" y="761683"/>
                    <a:pt x="656427" y="760254"/>
                  </a:cubicBezTo>
                  <a:cubicBezTo>
                    <a:pt x="657853" y="760254"/>
                    <a:pt x="658567" y="759540"/>
                    <a:pt x="659280" y="758826"/>
                  </a:cubicBezTo>
                  <a:cubicBezTo>
                    <a:pt x="662132" y="756683"/>
                    <a:pt x="664984" y="755254"/>
                    <a:pt x="667124" y="753111"/>
                  </a:cubicBezTo>
                  <a:cubicBezTo>
                    <a:pt x="668550" y="752396"/>
                    <a:pt x="669263" y="751682"/>
                    <a:pt x="669976" y="750968"/>
                  </a:cubicBezTo>
                  <a:cubicBezTo>
                    <a:pt x="671402" y="750253"/>
                    <a:pt x="672829" y="748824"/>
                    <a:pt x="673542" y="748110"/>
                  </a:cubicBezTo>
                  <a:cubicBezTo>
                    <a:pt x="674968" y="747396"/>
                    <a:pt x="675681" y="746681"/>
                    <a:pt x="677107" y="745967"/>
                  </a:cubicBezTo>
                  <a:cubicBezTo>
                    <a:pt x="677820" y="745253"/>
                    <a:pt x="679246" y="743824"/>
                    <a:pt x="680673" y="743109"/>
                  </a:cubicBezTo>
                  <a:cubicBezTo>
                    <a:pt x="681386" y="742395"/>
                    <a:pt x="682812" y="740966"/>
                    <a:pt x="683525" y="740252"/>
                  </a:cubicBezTo>
                  <a:cubicBezTo>
                    <a:pt x="684951" y="739538"/>
                    <a:pt x="686377" y="738823"/>
                    <a:pt x="687091" y="737394"/>
                  </a:cubicBezTo>
                  <a:cubicBezTo>
                    <a:pt x="688517" y="736680"/>
                    <a:pt x="689230" y="735966"/>
                    <a:pt x="689943" y="735251"/>
                  </a:cubicBezTo>
                  <a:cubicBezTo>
                    <a:pt x="692082" y="733108"/>
                    <a:pt x="694222" y="730965"/>
                    <a:pt x="696361" y="729536"/>
                  </a:cubicBezTo>
                  <a:cubicBezTo>
                    <a:pt x="697787" y="728822"/>
                    <a:pt x="698500" y="727393"/>
                    <a:pt x="699926" y="726679"/>
                  </a:cubicBezTo>
                  <a:cubicBezTo>
                    <a:pt x="700640" y="725964"/>
                    <a:pt x="702066" y="724536"/>
                    <a:pt x="702779" y="723821"/>
                  </a:cubicBezTo>
                  <a:cubicBezTo>
                    <a:pt x="704205" y="722393"/>
                    <a:pt x="704918" y="721678"/>
                    <a:pt x="706344" y="720964"/>
                  </a:cubicBezTo>
                  <a:cubicBezTo>
                    <a:pt x="707057" y="719535"/>
                    <a:pt x="708484" y="718821"/>
                    <a:pt x="709197" y="717392"/>
                  </a:cubicBezTo>
                  <a:cubicBezTo>
                    <a:pt x="710623" y="716678"/>
                    <a:pt x="711336" y="715963"/>
                    <a:pt x="712049" y="714534"/>
                  </a:cubicBezTo>
                  <a:cubicBezTo>
                    <a:pt x="713475" y="713820"/>
                    <a:pt x="714188" y="712391"/>
                    <a:pt x="715615" y="711677"/>
                  </a:cubicBezTo>
                  <a:cubicBezTo>
                    <a:pt x="716328" y="710248"/>
                    <a:pt x="717754" y="709534"/>
                    <a:pt x="718467" y="708105"/>
                  </a:cubicBezTo>
                  <a:cubicBezTo>
                    <a:pt x="720606" y="706676"/>
                    <a:pt x="722033" y="704533"/>
                    <a:pt x="723459" y="703104"/>
                  </a:cubicBezTo>
                  <a:cubicBezTo>
                    <a:pt x="724885" y="701676"/>
                    <a:pt x="725598" y="700961"/>
                    <a:pt x="727024" y="699533"/>
                  </a:cubicBezTo>
                  <a:cubicBezTo>
                    <a:pt x="727737" y="698818"/>
                    <a:pt x="729164" y="697389"/>
                    <a:pt x="729877" y="696675"/>
                  </a:cubicBezTo>
                  <a:cubicBezTo>
                    <a:pt x="730590" y="695246"/>
                    <a:pt x="732016" y="693818"/>
                    <a:pt x="732729" y="693103"/>
                  </a:cubicBezTo>
                  <a:cubicBezTo>
                    <a:pt x="733442" y="691674"/>
                    <a:pt x="734868" y="690960"/>
                    <a:pt x="735582" y="690246"/>
                  </a:cubicBezTo>
                  <a:cubicBezTo>
                    <a:pt x="736295" y="690246"/>
                    <a:pt x="736295" y="689531"/>
                    <a:pt x="737008" y="688817"/>
                  </a:cubicBezTo>
                  <a:cubicBezTo>
                    <a:pt x="737721" y="688103"/>
                    <a:pt x="737721" y="687388"/>
                    <a:pt x="738434" y="686674"/>
                  </a:cubicBezTo>
                  <a:cubicBezTo>
                    <a:pt x="739147" y="685959"/>
                    <a:pt x="740573" y="684531"/>
                    <a:pt x="741286" y="683816"/>
                  </a:cubicBezTo>
                  <a:cubicBezTo>
                    <a:pt x="741999" y="683102"/>
                    <a:pt x="742713" y="682388"/>
                    <a:pt x="743426" y="680959"/>
                  </a:cubicBezTo>
                  <a:cubicBezTo>
                    <a:pt x="744139" y="680244"/>
                    <a:pt x="744139" y="679530"/>
                    <a:pt x="744852" y="678816"/>
                  </a:cubicBezTo>
                  <a:cubicBezTo>
                    <a:pt x="746278" y="677387"/>
                    <a:pt x="746991" y="675958"/>
                    <a:pt x="748417" y="674529"/>
                  </a:cubicBezTo>
                  <a:cubicBezTo>
                    <a:pt x="748417" y="674529"/>
                    <a:pt x="749130" y="673815"/>
                    <a:pt x="749130" y="673101"/>
                  </a:cubicBezTo>
                  <a:cubicBezTo>
                    <a:pt x="749130" y="673101"/>
                    <a:pt x="749130" y="673101"/>
                    <a:pt x="749844" y="673101"/>
                  </a:cubicBezTo>
                  <a:cubicBezTo>
                    <a:pt x="750557" y="672386"/>
                    <a:pt x="750557" y="671672"/>
                    <a:pt x="751270" y="670243"/>
                  </a:cubicBezTo>
                  <a:cubicBezTo>
                    <a:pt x="752696" y="669529"/>
                    <a:pt x="753409" y="668100"/>
                    <a:pt x="754122" y="667386"/>
                  </a:cubicBezTo>
                  <a:cubicBezTo>
                    <a:pt x="754122" y="666671"/>
                    <a:pt x="754835" y="665957"/>
                    <a:pt x="755548" y="665243"/>
                  </a:cubicBezTo>
                  <a:cubicBezTo>
                    <a:pt x="756261" y="664528"/>
                    <a:pt x="756261" y="663814"/>
                    <a:pt x="756975" y="663814"/>
                  </a:cubicBezTo>
                  <a:cubicBezTo>
                    <a:pt x="757688" y="662385"/>
                    <a:pt x="758401" y="660956"/>
                    <a:pt x="759114" y="660242"/>
                  </a:cubicBezTo>
                  <a:cubicBezTo>
                    <a:pt x="759827" y="659528"/>
                    <a:pt x="760540" y="658099"/>
                    <a:pt x="761253" y="657384"/>
                  </a:cubicBezTo>
                  <a:cubicBezTo>
                    <a:pt x="761253" y="656670"/>
                    <a:pt x="761966" y="656670"/>
                    <a:pt x="761966" y="655956"/>
                  </a:cubicBezTo>
                  <a:cubicBezTo>
                    <a:pt x="762679" y="655241"/>
                    <a:pt x="763392" y="653813"/>
                    <a:pt x="764106" y="653098"/>
                  </a:cubicBezTo>
                  <a:cubicBezTo>
                    <a:pt x="764819" y="651669"/>
                    <a:pt x="766245" y="650241"/>
                    <a:pt x="766958" y="648812"/>
                  </a:cubicBezTo>
                  <a:cubicBezTo>
                    <a:pt x="767671" y="648098"/>
                    <a:pt x="768384" y="646669"/>
                    <a:pt x="768384" y="645954"/>
                  </a:cubicBezTo>
                  <a:cubicBezTo>
                    <a:pt x="769097" y="645240"/>
                    <a:pt x="769810" y="644526"/>
                    <a:pt x="770523" y="643811"/>
                  </a:cubicBezTo>
                  <a:cubicBezTo>
                    <a:pt x="771237" y="642383"/>
                    <a:pt x="771237" y="641668"/>
                    <a:pt x="771950" y="640239"/>
                  </a:cubicBezTo>
                  <a:cubicBezTo>
                    <a:pt x="772663" y="639525"/>
                    <a:pt x="772663" y="638811"/>
                    <a:pt x="773376" y="638811"/>
                  </a:cubicBezTo>
                  <a:cubicBezTo>
                    <a:pt x="774089" y="637382"/>
                    <a:pt x="774802" y="636668"/>
                    <a:pt x="775515" y="635239"/>
                  </a:cubicBezTo>
                  <a:cubicBezTo>
                    <a:pt x="776228" y="633810"/>
                    <a:pt x="776941" y="633096"/>
                    <a:pt x="777654" y="631667"/>
                  </a:cubicBezTo>
                  <a:cubicBezTo>
                    <a:pt x="777654" y="630953"/>
                    <a:pt x="777654" y="630953"/>
                    <a:pt x="777654" y="630953"/>
                  </a:cubicBezTo>
                  <a:cubicBezTo>
                    <a:pt x="778368" y="629524"/>
                    <a:pt x="779081" y="628809"/>
                    <a:pt x="779794" y="627381"/>
                  </a:cubicBezTo>
                  <a:cubicBezTo>
                    <a:pt x="780507" y="626666"/>
                    <a:pt x="781220" y="625238"/>
                    <a:pt x="781933" y="624523"/>
                  </a:cubicBezTo>
                  <a:cubicBezTo>
                    <a:pt x="781933" y="623809"/>
                    <a:pt x="781933" y="623809"/>
                    <a:pt x="781933" y="623094"/>
                  </a:cubicBezTo>
                  <a:cubicBezTo>
                    <a:pt x="782646" y="623094"/>
                    <a:pt x="782646" y="623094"/>
                    <a:pt x="782646" y="623094"/>
                  </a:cubicBezTo>
                  <a:cubicBezTo>
                    <a:pt x="782646" y="621666"/>
                    <a:pt x="783359" y="620951"/>
                    <a:pt x="784072" y="620237"/>
                  </a:cubicBezTo>
                  <a:cubicBezTo>
                    <a:pt x="784786" y="618808"/>
                    <a:pt x="785499" y="617379"/>
                    <a:pt x="785499" y="616665"/>
                  </a:cubicBezTo>
                  <a:cubicBezTo>
                    <a:pt x="786212" y="615951"/>
                    <a:pt x="786212" y="615236"/>
                    <a:pt x="786925" y="615236"/>
                  </a:cubicBezTo>
                  <a:cubicBezTo>
                    <a:pt x="786925" y="614522"/>
                    <a:pt x="787638" y="613093"/>
                    <a:pt x="788351" y="612379"/>
                  </a:cubicBezTo>
                  <a:cubicBezTo>
                    <a:pt x="788351" y="611664"/>
                    <a:pt x="789064" y="610950"/>
                    <a:pt x="789064" y="610236"/>
                  </a:cubicBezTo>
                  <a:cubicBezTo>
                    <a:pt x="789777" y="609521"/>
                    <a:pt x="789777" y="608807"/>
                    <a:pt x="789777" y="608807"/>
                  </a:cubicBezTo>
                  <a:cubicBezTo>
                    <a:pt x="790490" y="608093"/>
                    <a:pt x="790490" y="607378"/>
                    <a:pt x="791203" y="606664"/>
                  </a:cubicBezTo>
                  <a:cubicBezTo>
                    <a:pt x="791203" y="605949"/>
                    <a:pt x="791917" y="605235"/>
                    <a:pt x="791917" y="604521"/>
                  </a:cubicBezTo>
                  <a:cubicBezTo>
                    <a:pt x="792630" y="603806"/>
                    <a:pt x="792630" y="602378"/>
                    <a:pt x="793343" y="601663"/>
                  </a:cubicBezTo>
                  <a:cubicBezTo>
                    <a:pt x="793343" y="600949"/>
                    <a:pt x="794056" y="600949"/>
                    <a:pt x="794056" y="600234"/>
                  </a:cubicBezTo>
                  <a:cubicBezTo>
                    <a:pt x="794056" y="599520"/>
                    <a:pt x="794769" y="598806"/>
                    <a:pt x="794769" y="598091"/>
                  </a:cubicBezTo>
                  <a:cubicBezTo>
                    <a:pt x="795482" y="597377"/>
                    <a:pt x="795482" y="597377"/>
                    <a:pt x="795482" y="596663"/>
                  </a:cubicBezTo>
                  <a:cubicBezTo>
                    <a:pt x="796195" y="595234"/>
                    <a:pt x="796908" y="594519"/>
                    <a:pt x="797621" y="593091"/>
                  </a:cubicBezTo>
                  <a:cubicBezTo>
                    <a:pt x="797621" y="593091"/>
                    <a:pt x="797621" y="593091"/>
                    <a:pt x="797621" y="592376"/>
                  </a:cubicBezTo>
                  <a:cubicBezTo>
                    <a:pt x="798334" y="591662"/>
                    <a:pt x="798334" y="590948"/>
                    <a:pt x="799048" y="590233"/>
                  </a:cubicBezTo>
                  <a:cubicBezTo>
                    <a:pt x="799048" y="588804"/>
                    <a:pt x="799048" y="588090"/>
                    <a:pt x="799761" y="587376"/>
                  </a:cubicBezTo>
                  <a:cubicBezTo>
                    <a:pt x="799761" y="586661"/>
                    <a:pt x="800474" y="585947"/>
                    <a:pt x="800474" y="585233"/>
                  </a:cubicBezTo>
                  <a:cubicBezTo>
                    <a:pt x="801187" y="584518"/>
                    <a:pt x="801187" y="583804"/>
                    <a:pt x="801187" y="583804"/>
                  </a:cubicBezTo>
                  <a:cubicBezTo>
                    <a:pt x="801900" y="583089"/>
                    <a:pt x="801900" y="582375"/>
                    <a:pt x="802613" y="581661"/>
                  </a:cubicBezTo>
                  <a:cubicBezTo>
                    <a:pt x="802613" y="580232"/>
                    <a:pt x="803326" y="578803"/>
                    <a:pt x="804039" y="576660"/>
                  </a:cubicBezTo>
                  <a:cubicBezTo>
                    <a:pt x="804039" y="575946"/>
                    <a:pt x="804752" y="575946"/>
                    <a:pt x="804752" y="575231"/>
                  </a:cubicBezTo>
                  <a:cubicBezTo>
                    <a:pt x="804752" y="574517"/>
                    <a:pt x="804752" y="574517"/>
                    <a:pt x="804752" y="574517"/>
                  </a:cubicBezTo>
                  <a:cubicBezTo>
                    <a:pt x="805465" y="573803"/>
                    <a:pt x="805465" y="573803"/>
                    <a:pt x="805465" y="573088"/>
                  </a:cubicBezTo>
                  <a:cubicBezTo>
                    <a:pt x="806179" y="571659"/>
                    <a:pt x="806892" y="570231"/>
                    <a:pt x="807605" y="569516"/>
                  </a:cubicBezTo>
                  <a:cubicBezTo>
                    <a:pt x="807605" y="568802"/>
                    <a:pt x="807605" y="567373"/>
                    <a:pt x="808318" y="566659"/>
                  </a:cubicBezTo>
                  <a:cubicBezTo>
                    <a:pt x="808318" y="566659"/>
                    <a:pt x="808318" y="566659"/>
                    <a:pt x="808318" y="565944"/>
                  </a:cubicBezTo>
                  <a:cubicBezTo>
                    <a:pt x="809031" y="564516"/>
                    <a:pt x="809744" y="562373"/>
                    <a:pt x="810457" y="560944"/>
                  </a:cubicBezTo>
                  <a:cubicBezTo>
                    <a:pt x="810457" y="560229"/>
                    <a:pt x="810457" y="559515"/>
                    <a:pt x="811170" y="559515"/>
                  </a:cubicBezTo>
                  <a:cubicBezTo>
                    <a:pt x="811170" y="558801"/>
                    <a:pt x="811170" y="558801"/>
                    <a:pt x="811170" y="558086"/>
                  </a:cubicBezTo>
                  <a:cubicBezTo>
                    <a:pt x="811170" y="557372"/>
                    <a:pt x="811170" y="557372"/>
                    <a:pt x="811170" y="557372"/>
                  </a:cubicBezTo>
                  <a:cubicBezTo>
                    <a:pt x="811883" y="555229"/>
                    <a:pt x="812596" y="553086"/>
                    <a:pt x="813310" y="550943"/>
                  </a:cubicBezTo>
                  <a:cubicBezTo>
                    <a:pt x="814023" y="550228"/>
                    <a:pt x="814023" y="549514"/>
                    <a:pt x="814023" y="548799"/>
                  </a:cubicBezTo>
                  <a:cubicBezTo>
                    <a:pt x="814736" y="546656"/>
                    <a:pt x="815449" y="544513"/>
                    <a:pt x="816162" y="542370"/>
                  </a:cubicBezTo>
                  <a:cubicBezTo>
                    <a:pt x="816162" y="542370"/>
                    <a:pt x="816162" y="541656"/>
                    <a:pt x="816875" y="540941"/>
                  </a:cubicBezTo>
                  <a:cubicBezTo>
                    <a:pt x="816875" y="540227"/>
                    <a:pt x="816875" y="540227"/>
                    <a:pt x="816875" y="540227"/>
                  </a:cubicBezTo>
                  <a:cubicBezTo>
                    <a:pt x="816875" y="539513"/>
                    <a:pt x="817588" y="538798"/>
                    <a:pt x="817588" y="538084"/>
                  </a:cubicBezTo>
                  <a:cubicBezTo>
                    <a:pt x="817588" y="536655"/>
                    <a:pt x="818301" y="535941"/>
                    <a:pt x="818301" y="535226"/>
                  </a:cubicBezTo>
                  <a:cubicBezTo>
                    <a:pt x="818301" y="533798"/>
                    <a:pt x="819014" y="533083"/>
                    <a:pt x="819014" y="531654"/>
                  </a:cubicBezTo>
                  <a:cubicBezTo>
                    <a:pt x="819727" y="530226"/>
                    <a:pt x="819727" y="529511"/>
                    <a:pt x="819727" y="528797"/>
                  </a:cubicBezTo>
                  <a:cubicBezTo>
                    <a:pt x="820441" y="528083"/>
                    <a:pt x="820441" y="526654"/>
                    <a:pt x="820441" y="525939"/>
                  </a:cubicBezTo>
                  <a:cubicBezTo>
                    <a:pt x="821154" y="525225"/>
                    <a:pt x="821154" y="523796"/>
                    <a:pt x="821154" y="522368"/>
                  </a:cubicBezTo>
                  <a:cubicBezTo>
                    <a:pt x="821154" y="522368"/>
                    <a:pt x="821154" y="522368"/>
                    <a:pt x="821867" y="522368"/>
                  </a:cubicBezTo>
                  <a:cubicBezTo>
                    <a:pt x="821867" y="520939"/>
                    <a:pt x="821867" y="520224"/>
                    <a:pt x="821867" y="519510"/>
                  </a:cubicBezTo>
                  <a:cubicBezTo>
                    <a:pt x="822580" y="518796"/>
                    <a:pt x="822580" y="518081"/>
                    <a:pt x="822580" y="517367"/>
                  </a:cubicBezTo>
                  <a:cubicBezTo>
                    <a:pt x="823293" y="515938"/>
                    <a:pt x="823293" y="513795"/>
                    <a:pt x="823293" y="512366"/>
                  </a:cubicBezTo>
                  <a:cubicBezTo>
                    <a:pt x="824006" y="512366"/>
                    <a:pt x="824006" y="512366"/>
                    <a:pt x="824006" y="512366"/>
                  </a:cubicBezTo>
                  <a:cubicBezTo>
                    <a:pt x="824006" y="511652"/>
                    <a:pt x="824006" y="510938"/>
                    <a:pt x="824006" y="510938"/>
                  </a:cubicBezTo>
                  <a:cubicBezTo>
                    <a:pt x="824006" y="509509"/>
                    <a:pt x="824719" y="508794"/>
                    <a:pt x="824719" y="508080"/>
                  </a:cubicBezTo>
                  <a:cubicBezTo>
                    <a:pt x="824719" y="505937"/>
                    <a:pt x="825432" y="504508"/>
                    <a:pt x="825432" y="503079"/>
                  </a:cubicBezTo>
                  <a:cubicBezTo>
                    <a:pt x="825432" y="502365"/>
                    <a:pt x="825432" y="502365"/>
                    <a:pt x="825432" y="501651"/>
                  </a:cubicBezTo>
                  <a:cubicBezTo>
                    <a:pt x="826145" y="500936"/>
                    <a:pt x="826145" y="500222"/>
                    <a:pt x="826145" y="498793"/>
                  </a:cubicBezTo>
                  <a:cubicBezTo>
                    <a:pt x="826145" y="498793"/>
                    <a:pt x="826145" y="498793"/>
                    <a:pt x="826145" y="498079"/>
                  </a:cubicBezTo>
                  <a:cubicBezTo>
                    <a:pt x="826859" y="496650"/>
                    <a:pt x="826859" y="495221"/>
                    <a:pt x="826859" y="493793"/>
                  </a:cubicBezTo>
                  <a:cubicBezTo>
                    <a:pt x="826859" y="493078"/>
                    <a:pt x="827572" y="493078"/>
                    <a:pt x="827572" y="492364"/>
                  </a:cubicBezTo>
                  <a:cubicBezTo>
                    <a:pt x="827572" y="491649"/>
                    <a:pt x="827572" y="490221"/>
                    <a:pt x="827572" y="489506"/>
                  </a:cubicBezTo>
                  <a:cubicBezTo>
                    <a:pt x="827572" y="489506"/>
                    <a:pt x="827572" y="489506"/>
                    <a:pt x="827572" y="488792"/>
                  </a:cubicBezTo>
                  <a:cubicBezTo>
                    <a:pt x="828285" y="488078"/>
                    <a:pt x="828285" y="487363"/>
                    <a:pt x="828285" y="485934"/>
                  </a:cubicBezTo>
                  <a:cubicBezTo>
                    <a:pt x="828285" y="485220"/>
                    <a:pt x="828285" y="484506"/>
                    <a:pt x="828285" y="483791"/>
                  </a:cubicBezTo>
                  <a:cubicBezTo>
                    <a:pt x="828285" y="483791"/>
                    <a:pt x="828285" y="483791"/>
                    <a:pt x="828998" y="483077"/>
                  </a:cubicBezTo>
                  <a:cubicBezTo>
                    <a:pt x="828998" y="482363"/>
                    <a:pt x="828998" y="480934"/>
                    <a:pt x="828998" y="480219"/>
                  </a:cubicBezTo>
                  <a:cubicBezTo>
                    <a:pt x="828998" y="479505"/>
                    <a:pt x="828998" y="479505"/>
                    <a:pt x="828998" y="479505"/>
                  </a:cubicBezTo>
                  <a:cubicBezTo>
                    <a:pt x="829711" y="477362"/>
                    <a:pt x="829711" y="475933"/>
                    <a:pt x="829711" y="473790"/>
                  </a:cubicBezTo>
                  <a:cubicBezTo>
                    <a:pt x="829711" y="473076"/>
                    <a:pt x="829711" y="472361"/>
                    <a:pt x="829711" y="471647"/>
                  </a:cubicBezTo>
                  <a:cubicBezTo>
                    <a:pt x="829711" y="471647"/>
                    <a:pt x="829711" y="471647"/>
                    <a:pt x="830424" y="470933"/>
                  </a:cubicBezTo>
                  <a:cubicBezTo>
                    <a:pt x="830424" y="470218"/>
                    <a:pt x="830424" y="470218"/>
                    <a:pt x="830424" y="469504"/>
                  </a:cubicBezTo>
                  <a:cubicBezTo>
                    <a:pt x="830424" y="467361"/>
                    <a:pt x="830424" y="465932"/>
                    <a:pt x="830424" y="463789"/>
                  </a:cubicBezTo>
                  <a:cubicBezTo>
                    <a:pt x="831137" y="463074"/>
                    <a:pt x="831137" y="462360"/>
                    <a:pt x="831137" y="461646"/>
                  </a:cubicBezTo>
                  <a:cubicBezTo>
                    <a:pt x="831137" y="460931"/>
                    <a:pt x="831137" y="460217"/>
                    <a:pt x="831137" y="459503"/>
                  </a:cubicBezTo>
                  <a:cubicBezTo>
                    <a:pt x="831137" y="459503"/>
                    <a:pt x="831137" y="459503"/>
                    <a:pt x="831137" y="458788"/>
                  </a:cubicBezTo>
                  <a:cubicBezTo>
                    <a:pt x="831137" y="457359"/>
                    <a:pt x="831137" y="455216"/>
                    <a:pt x="831137" y="453788"/>
                  </a:cubicBezTo>
                  <a:cubicBezTo>
                    <a:pt x="831137" y="453073"/>
                    <a:pt x="831850" y="453073"/>
                    <a:pt x="831850" y="452359"/>
                  </a:cubicBezTo>
                  <a:cubicBezTo>
                    <a:pt x="831850" y="451644"/>
                    <a:pt x="831850" y="450930"/>
                    <a:pt x="831850" y="450216"/>
                  </a:cubicBezTo>
                  <a:cubicBezTo>
                    <a:pt x="831850" y="449501"/>
                    <a:pt x="831850" y="449501"/>
                    <a:pt x="831850" y="448787"/>
                  </a:cubicBezTo>
                  <a:cubicBezTo>
                    <a:pt x="831850" y="447358"/>
                    <a:pt x="831850" y="445929"/>
                    <a:pt x="831850" y="443786"/>
                  </a:cubicBezTo>
                  <a:cubicBezTo>
                    <a:pt x="831850" y="443786"/>
                    <a:pt x="831850" y="443786"/>
                    <a:pt x="831850" y="443072"/>
                  </a:cubicBezTo>
                  <a:cubicBezTo>
                    <a:pt x="831850" y="442358"/>
                    <a:pt x="831850" y="441643"/>
                    <a:pt x="831850" y="440929"/>
                  </a:cubicBezTo>
                  <a:cubicBezTo>
                    <a:pt x="831850" y="440214"/>
                    <a:pt x="831850" y="440214"/>
                    <a:pt x="831850" y="440214"/>
                  </a:cubicBezTo>
                  <a:cubicBezTo>
                    <a:pt x="831850" y="436643"/>
                    <a:pt x="831850" y="433785"/>
                    <a:pt x="831850" y="430928"/>
                  </a:cubicBezTo>
                  <a:cubicBezTo>
                    <a:pt x="831850" y="210186"/>
                    <a:pt x="652149" y="30163"/>
                    <a:pt x="431800" y="30163"/>
                  </a:cubicBezTo>
                  <a:close/>
                  <a:moveTo>
                    <a:pt x="431800" y="0"/>
                  </a:moveTo>
                  <a:cubicBezTo>
                    <a:pt x="670277" y="0"/>
                    <a:pt x="863600" y="192613"/>
                    <a:pt x="863600" y="430213"/>
                  </a:cubicBezTo>
                  <a:cubicBezTo>
                    <a:pt x="863600" y="667813"/>
                    <a:pt x="670277" y="860426"/>
                    <a:pt x="431800" y="860426"/>
                  </a:cubicBezTo>
                  <a:cubicBezTo>
                    <a:pt x="193323" y="860426"/>
                    <a:pt x="0" y="667813"/>
                    <a:pt x="0" y="430213"/>
                  </a:cubicBezTo>
                  <a:cubicBezTo>
                    <a:pt x="0" y="192613"/>
                    <a:pt x="193323" y="0"/>
                    <a:pt x="431800" y="0"/>
                  </a:cubicBezTo>
                  <a:close/>
                </a:path>
              </a:pathLst>
            </a:custGeom>
            <a:solidFill>
              <a:srgbClr val="FFFFFF"/>
            </a:solidFill>
            <a:ln>
              <a:noFill/>
            </a:ln>
            <a:extLst/>
          </p:spPr>
          <p:txBody>
            <a:bodyPr vert="horz" wrap="square" lIns="91440" tIns="45720" rIns="91440" bIns="45720" numCol="1" anchor="t" anchorCtr="0" compatLnSpc="1">
              <a:prstTxWarp prst="textNoShape">
                <a:avLst/>
              </a:prstTxWarp>
              <a:noAutofit/>
            </a:bodyPr>
            <a:lstStyle/>
            <a:p>
              <a:endParaRPr lang="en-US" dirty="0"/>
            </a:p>
          </p:txBody>
        </p:sp>
      </p:grpSp>
    </p:spTree>
    <p:extLst>
      <p:ext uri="{BB962C8B-B14F-4D97-AF65-F5344CB8AC3E}">
        <p14:creationId xmlns:p14="http://schemas.microsoft.com/office/powerpoint/2010/main" val="5899246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2945803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433" name="think-cell Slide" r:id="rId6" imgW="410" imgH="409" progId="TCLayout.ActiveDocument.1">
                  <p:embed/>
                </p:oleObj>
              </mc:Choice>
              <mc:Fallback>
                <p:oleObj name="think-cell Slide" r:id="rId6" imgW="410" imgH="409"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3400" dirty="0" smtClean="0">
              <a:solidFill>
                <a:srgbClr val="FFFFFF"/>
              </a:solidFill>
              <a:latin typeface="Trebuchet MS" panose="020B0603020202020204" pitchFamily="34" charset="0"/>
              <a:ea typeface="+mj-ea"/>
              <a:cs typeface="+mj-cs"/>
              <a:sym typeface="Trebuchet MS" panose="020B0603020202020204" pitchFamily="34" charset="0"/>
            </a:endParaRPr>
          </a:p>
        </p:txBody>
      </p:sp>
      <p:sp>
        <p:nvSpPr>
          <p:cNvPr id="3" name="Title 2"/>
          <p:cNvSpPr>
            <a:spLocks noGrp="1"/>
          </p:cNvSpPr>
          <p:nvPr>
            <p:ph type="title"/>
          </p:nvPr>
        </p:nvSpPr>
        <p:spPr/>
        <p:txBody>
          <a:bodyPr/>
          <a:lstStyle/>
          <a:p>
            <a:r>
              <a:rPr lang="en-US" dirty="0" smtClean="0"/>
              <a:t>Predicting Point Ending Using Tracking Data (Harish)</a:t>
            </a:r>
            <a:endParaRPr lang="en-US" dirty="0"/>
          </a:p>
        </p:txBody>
      </p:sp>
    </p:spTree>
    <p:extLst>
      <p:ext uri="{BB962C8B-B14F-4D97-AF65-F5344CB8AC3E}">
        <p14:creationId xmlns:p14="http://schemas.microsoft.com/office/powerpoint/2010/main" val="3638871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7528" name="think-cell Slide" r:id="rId6" imgW="410" imgH="409" progId="TCLayout.ActiveDocument.1">
                  <p:embed/>
                </p:oleObj>
              </mc:Choice>
              <mc:Fallback>
                <p:oleObj name="think-cell Slide" r:id="rId6" imgW="410" imgH="409"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3400" dirty="0" smtClean="0">
              <a:solidFill>
                <a:srgbClr val="FFFFFF"/>
              </a:solidFill>
              <a:latin typeface="Trebuchet MS" panose="020B0603020202020204" pitchFamily="34" charset="0"/>
              <a:ea typeface="+mj-ea"/>
              <a:cs typeface="+mj-cs"/>
              <a:sym typeface="Trebuchet MS" panose="020B0603020202020204" pitchFamily="34" charset="0"/>
            </a:endParaRPr>
          </a:p>
        </p:txBody>
      </p:sp>
      <p:sp>
        <p:nvSpPr>
          <p:cNvPr id="3" name="Title 2"/>
          <p:cNvSpPr>
            <a:spLocks noGrp="1"/>
          </p:cNvSpPr>
          <p:nvPr>
            <p:ph type="title"/>
          </p:nvPr>
        </p:nvSpPr>
        <p:spPr/>
        <p:txBody>
          <a:bodyPr/>
          <a:lstStyle/>
          <a:p>
            <a:r>
              <a:rPr lang="en-US" dirty="0" smtClean="0"/>
              <a:t>Predicting Point Ending Using Tracking Data (Harish)</a:t>
            </a:r>
            <a:endParaRPr lang="en-US" dirty="0"/>
          </a:p>
        </p:txBody>
      </p:sp>
    </p:spTree>
    <p:extLst>
      <p:ext uri="{BB962C8B-B14F-4D97-AF65-F5344CB8AC3E}">
        <p14:creationId xmlns:p14="http://schemas.microsoft.com/office/powerpoint/2010/main" val="42634544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7205515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8553" name="think-cell Slide" r:id="rId5" imgW="410" imgH="409" progId="TCLayout.ActiveDocument.1">
                  <p:embed/>
                </p:oleObj>
              </mc:Choice>
              <mc:Fallback>
                <p:oleObj name="think-cell Slide" r:id="rId5" imgW="410" imgH="409"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3200" dirty="0" smtClean="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 name="Title 1"/>
          <p:cNvSpPr>
            <a:spLocks noGrp="1"/>
          </p:cNvSpPr>
          <p:nvPr>
            <p:ph type="title"/>
          </p:nvPr>
        </p:nvSpPr>
        <p:spPr/>
        <p:txBody>
          <a:bodyPr/>
          <a:lstStyle/>
          <a:p>
            <a:r>
              <a:rPr lang="en-US" dirty="0" err="1" smtClean="0"/>
              <a:t>ETL</a:t>
            </a:r>
            <a:r>
              <a:rPr lang="en-US" dirty="0" smtClean="0"/>
              <a:t> Process	</a:t>
            </a:r>
            <a:endParaRPr lang="en-US" dirty="0"/>
          </a:p>
        </p:txBody>
      </p:sp>
      <p:sp>
        <p:nvSpPr>
          <p:cNvPr id="5" name="TextBox 4"/>
          <p:cNvSpPr txBox="1"/>
          <p:nvPr/>
        </p:nvSpPr>
        <p:spPr>
          <a:xfrm>
            <a:off x="4404167" y="1996633"/>
            <a:ext cx="5769980" cy="347819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indent="-285750">
              <a:buFont typeface="Arial" panose="020B0604020202020204" pitchFamily="34" charset="0"/>
              <a:buChar char="•"/>
            </a:pPr>
            <a:r>
              <a:rPr lang="en-US" dirty="0" smtClean="0">
                <a:solidFill>
                  <a:srgbClr val="575757"/>
                </a:solidFill>
              </a:rPr>
              <a:t>Cy &amp; </a:t>
            </a:r>
            <a:r>
              <a:rPr lang="en-US" dirty="0" err="1" smtClean="0">
                <a:solidFill>
                  <a:srgbClr val="575757"/>
                </a:solidFill>
              </a:rPr>
              <a:t>Sirish</a:t>
            </a:r>
            <a:endParaRPr lang="en-US" dirty="0" smtClean="0">
              <a:solidFill>
                <a:srgbClr val="575757"/>
              </a:solidFill>
            </a:endParaRPr>
          </a:p>
          <a:p>
            <a:pPr marL="285750" indent="-285750">
              <a:buFont typeface="Arial" panose="020B0604020202020204" pitchFamily="34" charset="0"/>
              <a:buChar char="•"/>
            </a:pPr>
            <a:r>
              <a:rPr lang="en-US" dirty="0" smtClean="0">
                <a:solidFill>
                  <a:srgbClr val="575757"/>
                </a:solidFill>
              </a:rPr>
              <a:t>To</a:t>
            </a:r>
          </a:p>
          <a:p>
            <a:pPr marL="285750" indent="-285750">
              <a:buFont typeface="Arial" panose="020B0604020202020204" pitchFamily="34" charset="0"/>
              <a:buChar char="•"/>
            </a:pPr>
            <a:r>
              <a:rPr lang="en-US" dirty="0" smtClean="0">
                <a:solidFill>
                  <a:srgbClr val="575757"/>
                </a:solidFill>
              </a:rPr>
              <a:t>Add</a:t>
            </a:r>
          </a:p>
          <a:p>
            <a:pPr marL="285750" indent="-285750">
              <a:buFont typeface="Arial" panose="020B0604020202020204" pitchFamily="34" charset="0"/>
              <a:buChar char="•"/>
            </a:pPr>
            <a:r>
              <a:rPr lang="en-US" dirty="0" smtClean="0">
                <a:solidFill>
                  <a:srgbClr val="575757"/>
                </a:solidFill>
              </a:rPr>
              <a:t>Steps</a:t>
            </a:r>
          </a:p>
          <a:p>
            <a:pPr marL="285750" indent="-285750">
              <a:buFont typeface="Arial" panose="020B0604020202020204" pitchFamily="34" charset="0"/>
              <a:buChar char="•"/>
            </a:pPr>
            <a:endParaRPr lang="en-US" dirty="0" smtClean="0">
              <a:solidFill>
                <a:srgbClr val="575757"/>
              </a:solidFill>
            </a:endParaRPr>
          </a:p>
          <a:p>
            <a:pPr algn="ctr"/>
            <a:endParaRPr lang="en-US" dirty="0">
              <a:solidFill>
                <a:srgbClr val="575757"/>
              </a:solidFill>
            </a:endParaRPr>
          </a:p>
        </p:txBody>
      </p:sp>
      <p:grpSp>
        <p:nvGrpSpPr>
          <p:cNvPr id="6" name="Group 5"/>
          <p:cNvGrpSpPr>
            <a:grpSpLocks noChangeAspect="1"/>
          </p:cNvGrpSpPr>
          <p:nvPr/>
        </p:nvGrpSpPr>
        <p:grpSpPr>
          <a:xfrm>
            <a:off x="731520" y="3657600"/>
            <a:ext cx="1646238" cy="1646238"/>
            <a:chOff x="5272881" y="2605881"/>
            <a:chExt cx="1646238" cy="1646238"/>
          </a:xfrm>
        </p:grpSpPr>
        <p:sp>
          <p:nvSpPr>
            <p:cNvPr id="7" name="AutoShape 91"/>
            <p:cNvSpPr>
              <a:spLocks noChangeAspect="1" noChangeArrowheads="1" noTextEdit="1"/>
            </p:cNvSpPr>
            <p:nvPr/>
          </p:nvSpPr>
          <p:spPr bwMode="auto">
            <a:xfrm>
              <a:off x="5272881" y="2605881"/>
              <a:ext cx="1646238" cy="1646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 name="Freeform 7"/>
            <p:cNvSpPr>
              <a:spLocks/>
            </p:cNvSpPr>
            <p:nvPr/>
          </p:nvSpPr>
          <p:spPr bwMode="auto">
            <a:xfrm>
              <a:off x="5469730" y="2801143"/>
              <a:ext cx="1250950" cy="1252539"/>
            </a:xfrm>
            <a:custGeom>
              <a:avLst/>
              <a:gdLst>
                <a:gd name="connsiteX0" fmla="*/ 625475 w 1250950"/>
                <a:gd name="connsiteY0" fmla="*/ 1098551 h 1252539"/>
                <a:gd name="connsiteX1" fmla="*/ 679712 w 1250950"/>
                <a:gd name="connsiteY1" fmla="*/ 1121470 h 1252539"/>
                <a:gd name="connsiteX2" fmla="*/ 703263 w 1250950"/>
                <a:gd name="connsiteY2" fmla="*/ 1175187 h 1252539"/>
                <a:gd name="connsiteX3" fmla="*/ 679712 w 1250950"/>
                <a:gd name="connsiteY3" fmla="*/ 1230336 h 1252539"/>
                <a:gd name="connsiteX4" fmla="*/ 625475 w 1250950"/>
                <a:gd name="connsiteY4" fmla="*/ 1252539 h 1252539"/>
                <a:gd name="connsiteX5" fmla="*/ 547688 w 1250950"/>
                <a:gd name="connsiteY5" fmla="*/ 1175187 h 1252539"/>
                <a:gd name="connsiteX6" fmla="*/ 625475 w 1250950"/>
                <a:gd name="connsiteY6" fmla="*/ 1098551 h 1252539"/>
                <a:gd name="connsiteX7" fmla="*/ 889746 w 1250950"/>
                <a:gd name="connsiteY7" fmla="*/ 1025387 h 1252539"/>
                <a:gd name="connsiteX8" fmla="*/ 918834 w 1250950"/>
                <a:gd name="connsiteY8" fmla="*/ 1027352 h 1252539"/>
                <a:gd name="connsiteX9" fmla="*/ 965802 w 1250950"/>
                <a:gd name="connsiteY9" fmla="*/ 1063071 h 1252539"/>
                <a:gd name="connsiteX10" fmla="*/ 972918 w 1250950"/>
                <a:gd name="connsiteY10" fmla="*/ 1121650 h 1252539"/>
                <a:gd name="connsiteX11" fmla="*/ 937336 w 1250950"/>
                <a:gd name="connsiteY11" fmla="*/ 1169513 h 1252539"/>
                <a:gd name="connsiteX12" fmla="*/ 900331 w 1250950"/>
                <a:gd name="connsiteY12" fmla="*/ 1179514 h 1252539"/>
                <a:gd name="connsiteX13" fmla="*/ 834149 w 1250950"/>
                <a:gd name="connsiteY13" fmla="*/ 1140223 h 1252539"/>
                <a:gd name="connsiteX14" fmla="*/ 861191 w 1250950"/>
                <a:gd name="connsiteY14" fmla="*/ 1035210 h 1252539"/>
                <a:gd name="connsiteX15" fmla="*/ 889746 w 1250950"/>
                <a:gd name="connsiteY15" fmla="*/ 1025387 h 1252539"/>
                <a:gd name="connsiteX16" fmla="*/ 360188 w 1250950"/>
                <a:gd name="connsiteY16" fmla="*/ 1024249 h 1252539"/>
                <a:gd name="connsiteX17" fmla="*/ 388741 w 1250950"/>
                <a:gd name="connsiteY17" fmla="*/ 1034350 h 1252539"/>
                <a:gd name="connsiteX18" fmla="*/ 417384 w 1250950"/>
                <a:gd name="connsiteY18" fmla="*/ 1140183 h 1252539"/>
                <a:gd name="connsiteX19" fmla="*/ 350074 w 1250950"/>
                <a:gd name="connsiteY19" fmla="*/ 1179513 h 1252539"/>
                <a:gd name="connsiteX20" fmla="*/ 311406 w 1250950"/>
                <a:gd name="connsiteY20" fmla="*/ 1169502 h 1252539"/>
                <a:gd name="connsiteX21" fmla="*/ 275603 w 1250950"/>
                <a:gd name="connsiteY21" fmla="*/ 1121591 h 1252539"/>
                <a:gd name="connsiteX22" fmla="*/ 283480 w 1250950"/>
                <a:gd name="connsiteY22" fmla="*/ 1062238 h 1252539"/>
                <a:gd name="connsiteX23" fmla="*/ 330024 w 1250950"/>
                <a:gd name="connsiteY23" fmla="*/ 1026484 h 1252539"/>
                <a:gd name="connsiteX24" fmla="*/ 360188 w 1250950"/>
                <a:gd name="connsiteY24" fmla="*/ 1024249 h 1252539"/>
                <a:gd name="connsiteX25" fmla="*/ 1110520 w 1250950"/>
                <a:gd name="connsiteY25" fmla="*/ 825552 h 1252539"/>
                <a:gd name="connsiteX26" fmla="*/ 1139209 w 1250950"/>
                <a:gd name="connsiteY26" fmla="*/ 835005 h 1252539"/>
                <a:gd name="connsiteX27" fmla="*/ 1175420 w 1250950"/>
                <a:gd name="connsiteY27" fmla="*/ 881926 h 1252539"/>
                <a:gd name="connsiteX28" fmla="*/ 1168320 w 1250950"/>
                <a:gd name="connsiteY28" fmla="*/ 939511 h 1252539"/>
                <a:gd name="connsiteX29" fmla="*/ 1100868 w 1250950"/>
                <a:gd name="connsiteY29" fmla="*/ 977901 h 1252539"/>
                <a:gd name="connsiteX30" fmla="*/ 1062526 w 1250950"/>
                <a:gd name="connsiteY30" fmla="*/ 967237 h 1252539"/>
                <a:gd name="connsiteX31" fmla="*/ 1034835 w 1250950"/>
                <a:gd name="connsiteY31" fmla="*/ 863442 h 1252539"/>
                <a:gd name="connsiteX32" fmla="*/ 1081164 w 1250950"/>
                <a:gd name="connsiteY32" fmla="*/ 827629 h 1252539"/>
                <a:gd name="connsiteX33" fmla="*/ 1110520 w 1250950"/>
                <a:gd name="connsiteY33" fmla="*/ 825552 h 1252539"/>
                <a:gd name="connsiteX34" fmla="*/ 139908 w 1250950"/>
                <a:gd name="connsiteY34" fmla="*/ 823788 h 1252539"/>
                <a:gd name="connsiteX35" fmla="*/ 170061 w 1250950"/>
                <a:gd name="connsiteY35" fmla="*/ 825762 h 1252539"/>
                <a:gd name="connsiteX36" fmla="*/ 217303 w 1250950"/>
                <a:gd name="connsiteY36" fmla="*/ 861644 h 1252539"/>
                <a:gd name="connsiteX37" fmla="*/ 225177 w 1250950"/>
                <a:gd name="connsiteY37" fmla="*/ 920490 h 1252539"/>
                <a:gd name="connsiteX38" fmla="*/ 188672 w 1250950"/>
                <a:gd name="connsiteY38" fmla="*/ 967854 h 1252539"/>
                <a:gd name="connsiteX39" fmla="*/ 150019 w 1250950"/>
                <a:gd name="connsiteY39" fmla="*/ 977901 h 1252539"/>
                <a:gd name="connsiteX40" fmla="*/ 82734 w 1250950"/>
                <a:gd name="connsiteY40" fmla="*/ 939149 h 1252539"/>
                <a:gd name="connsiteX41" fmla="*/ 74860 w 1250950"/>
                <a:gd name="connsiteY41" fmla="*/ 880302 h 1252539"/>
                <a:gd name="connsiteX42" fmla="*/ 111366 w 1250950"/>
                <a:gd name="connsiteY42" fmla="*/ 833656 h 1252539"/>
                <a:gd name="connsiteX43" fmla="*/ 139908 w 1250950"/>
                <a:gd name="connsiteY43" fmla="*/ 823788 h 1252539"/>
                <a:gd name="connsiteX44" fmla="*/ 78145 w 1250950"/>
                <a:gd name="connsiteY44" fmla="*/ 581025 h 1252539"/>
                <a:gd name="connsiteX45" fmla="*/ 31750 w 1250950"/>
                <a:gd name="connsiteY45" fmla="*/ 626269 h 1252539"/>
                <a:gd name="connsiteX46" fmla="*/ 78145 w 1250950"/>
                <a:gd name="connsiteY46" fmla="*/ 671513 h 1252539"/>
                <a:gd name="connsiteX47" fmla="*/ 123825 w 1250950"/>
                <a:gd name="connsiteY47" fmla="*/ 626269 h 1252539"/>
                <a:gd name="connsiteX48" fmla="*/ 78145 w 1250950"/>
                <a:gd name="connsiteY48" fmla="*/ 581025 h 1252539"/>
                <a:gd name="connsiteX49" fmla="*/ 1174396 w 1250950"/>
                <a:gd name="connsiteY49" fmla="*/ 549276 h 1252539"/>
                <a:gd name="connsiteX50" fmla="*/ 1250950 w 1250950"/>
                <a:gd name="connsiteY50" fmla="*/ 627064 h 1252539"/>
                <a:gd name="connsiteX51" fmla="*/ 1228976 w 1250950"/>
                <a:gd name="connsiteY51" fmla="*/ 682014 h 1252539"/>
                <a:gd name="connsiteX52" fmla="*/ 1174396 w 1250950"/>
                <a:gd name="connsiteY52" fmla="*/ 704851 h 1252539"/>
                <a:gd name="connsiteX53" fmla="*/ 1121233 w 1250950"/>
                <a:gd name="connsiteY53" fmla="*/ 682014 h 1252539"/>
                <a:gd name="connsiteX54" fmla="*/ 1098550 w 1250950"/>
                <a:gd name="connsiteY54" fmla="*/ 627064 h 1252539"/>
                <a:gd name="connsiteX55" fmla="*/ 1174396 w 1250950"/>
                <a:gd name="connsiteY55" fmla="*/ 549276 h 1252539"/>
                <a:gd name="connsiteX56" fmla="*/ 77349 w 1250950"/>
                <a:gd name="connsiteY56" fmla="*/ 549275 h 1252539"/>
                <a:gd name="connsiteX57" fmla="*/ 153988 w 1250950"/>
                <a:gd name="connsiteY57" fmla="*/ 627063 h 1252539"/>
                <a:gd name="connsiteX58" fmla="*/ 77349 w 1250950"/>
                <a:gd name="connsiteY58" fmla="*/ 704850 h 1252539"/>
                <a:gd name="connsiteX59" fmla="*/ 0 w 1250950"/>
                <a:gd name="connsiteY59" fmla="*/ 627063 h 1252539"/>
                <a:gd name="connsiteX60" fmla="*/ 77349 w 1250950"/>
                <a:gd name="connsiteY60" fmla="*/ 549275 h 1252539"/>
                <a:gd name="connsiteX61" fmla="*/ 150337 w 1250950"/>
                <a:gd name="connsiteY61" fmla="*/ 304801 h 1252539"/>
                <a:gd name="connsiteX62" fmla="*/ 138193 w 1250950"/>
                <a:gd name="connsiteY62" fmla="*/ 306228 h 1252539"/>
                <a:gd name="connsiteX63" fmla="*/ 110332 w 1250950"/>
                <a:gd name="connsiteY63" fmla="*/ 327624 h 1252539"/>
                <a:gd name="connsiteX64" fmla="*/ 106046 w 1250950"/>
                <a:gd name="connsiteY64" fmla="*/ 362572 h 1252539"/>
                <a:gd name="connsiteX65" fmla="*/ 127477 w 1250950"/>
                <a:gd name="connsiteY65" fmla="*/ 391101 h 1252539"/>
                <a:gd name="connsiteX66" fmla="*/ 190342 w 1250950"/>
                <a:gd name="connsiteY66" fmla="*/ 373271 h 1252539"/>
                <a:gd name="connsiteX67" fmla="*/ 173197 w 1250950"/>
                <a:gd name="connsiteY67" fmla="*/ 311220 h 1252539"/>
                <a:gd name="connsiteX68" fmla="*/ 150337 w 1250950"/>
                <a:gd name="connsiteY68" fmla="*/ 304801 h 1252539"/>
                <a:gd name="connsiteX69" fmla="*/ 1091768 w 1250950"/>
                <a:gd name="connsiteY69" fmla="*/ 275124 h 1252539"/>
                <a:gd name="connsiteX70" fmla="*/ 1168578 w 1250950"/>
                <a:gd name="connsiteY70" fmla="*/ 313390 h 1252539"/>
                <a:gd name="connsiteX71" fmla="*/ 1140130 w 1250950"/>
                <a:gd name="connsiteY71" fmla="*/ 419529 h 1252539"/>
                <a:gd name="connsiteX72" fmla="*/ 1101725 w 1250950"/>
                <a:gd name="connsiteY72" fmla="*/ 430214 h 1252539"/>
                <a:gd name="connsiteX73" fmla="*/ 1081100 w 1250950"/>
                <a:gd name="connsiteY73" fmla="*/ 427364 h 1252539"/>
                <a:gd name="connsiteX74" fmla="*/ 1034872 w 1250950"/>
                <a:gd name="connsiteY74" fmla="*/ 390323 h 1252539"/>
                <a:gd name="connsiteX75" fmla="*/ 1062609 w 1250950"/>
                <a:gd name="connsiteY75" fmla="*/ 284896 h 1252539"/>
                <a:gd name="connsiteX76" fmla="*/ 1091768 w 1250950"/>
                <a:gd name="connsiteY76" fmla="*/ 275124 h 1252539"/>
                <a:gd name="connsiteX77" fmla="*/ 160548 w 1250950"/>
                <a:gd name="connsiteY77" fmla="*/ 275101 h 1252539"/>
                <a:gd name="connsiteX78" fmla="*/ 190245 w 1250950"/>
                <a:gd name="connsiteY78" fmla="*/ 284875 h 1252539"/>
                <a:gd name="connsiteX79" fmla="*/ 218205 w 1250950"/>
                <a:gd name="connsiteY79" fmla="*/ 390198 h 1252539"/>
                <a:gd name="connsiteX80" fmla="*/ 150813 w 1250950"/>
                <a:gd name="connsiteY80" fmla="*/ 428626 h 1252539"/>
                <a:gd name="connsiteX81" fmla="*/ 112099 w 1250950"/>
                <a:gd name="connsiteY81" fmla="*/ 418663 h 1252539"/>
                <a:gd name="connsiteX82" fmla="*/ 83421 w 1250950"/>
                <a:gd name="connsiteY82" fmla="*/ 312629 h 1252539"/>
                <a:gd name="connsiteX83" fmla="*/ 160548 w 1250950"/>
                <a:gd name="connsiteY83" fmla="*/ 275101 h 1252539"/>
                <a:gd name="connsiteX84" fmla="*/ 349683 w 1250950"/>
                <a:gd name="connsiteY84" fmla="*/ 104776 h 1252539"/>
                <a:gd name="connsiteX85" fmla="*/ 326529 w 1250950"/>
                <a:gd name="connsiteY85" fmla="*/ 110482 h 1252539"/>
                <a:gd name="connsiteX86" fmla="*/ 309887 w 1250950"/>
                <a:gd name="connsiteY86" fmla="*/ 173959 h 1252539"/>
                <a:gd name="connsiteX87" fmla="*/ 373560 w 1250950"/>
                <a:gd name="connsiteY87" fmla="*/ 190363 h 1252539"/>
                <a:gd name="connsiteX88" fmla="*/ 390926 w 1250950"/>
                <a:gd name="connsiteY88" fmla="*/ 128313 h 1252539"/>
                <a:gd name="connsiteX89" fmla="*/ 361983 w 1250950"/>
                <a:gd name="connsiteY89" fmla="*/ 106203 h 1252539"/>
                <a:gd name="connsiteX90" fmla="*/ 349683 w 1250950"/>
                <a:gd name="connsiteY90" fmla="*/ 104776 h 1252539"/>
                <a:gd name="connsiteX91" fmla="*/ 910324 w 1250950"/>
                <a:gd name="connsiteY91" fmla="*/ 73158 h 1252539"/>
                <a:gd name="connsiteX92" fmla="*/ 939560 w 1250950"/>
                <a:gd name="connsiteY92" fmla="*/ 82659 h 1252539"/>
                <a:gd name="connsiteX93" fmla="*/ 975349 w 1250950"/>
                <a:gd name="connsiteY93" fmla="*/ 130591 h 1252539"/>
                <a:gd name="connsiteX94" fmla="*/ 967476 w 1250950"/>
                <a:gd name="connsiteY94" fmla="*/ 189254 h 1252539"/>
                <a:gd name="connsiteX95" fmla="*/ 920949 w 1250950"/>
                <a:gd name="connsiteY95" fmla="*/ 225739 h 1252539"/>
                <a:gd name="connsiteX96" fmla="*/ 900907 w 1250950"/>
                <a:gd name="connsiteY96" fmla="*/ 228601 h 1252539"/>
                <a:gd name="connsiteX97" fmla="*/ 862254 w 1250950"/>
                <a:gd name="connsiteY97" fmla="*/ 217870 h 1252539"/>
                <a:gd name="connsiteX98" fmla="*/ 825748 w 1250950"/>
                <a:gd name="connsiteY98" fmla="*/ 170654 h 1252539"/>
                <a:gd name="connsiteX99" fmla="*/ 833622 w 1250950"/>
                <a:gd name="connsiteY99" fmla="*/ 111991 h 1252539"/>
                <a:gd name="connsiteX100" fmla="*/ 910324 w 1250950"/>
                <a:gd name="connsiteY100" fmla="*/ 73158 h 1252539"/>
                <a:gd name="connsiteX101" fmla="*/ 339659 w 1250950"/>
                <a:gd name="connsiteY101" fmla="*/ 73158 h 1252539"/>
                <a:gd name="connsiteX102" fmla="*/ 370319 w 1250950"/>
                <a:gd name="connsiteY102" fmla="*/ 74857 h 1252539"/>
                <a:gd name="connsiteX103" fmla="*/ 417379 w 1250950"/>
                <a:gd name="connsiteY103" fmla="*/ 111326 h 1252539"/>
                <a:gd name="connsiteX104" fmla="*/ 425222 w 1250950"/>
                <a:gd name="connsiteY104" fmla="*/ 170679 h 1252539"/>
                <a:gd name="connsiteX105" fmla="*/ 388858 w 1250950"/>
                <a:gd name="connsiteY105" fmla="*/ 217875 h 1252539"/>
                <a:gd name="connsiteX106" fmla="*/ 350354 w 1250950"/>
                <a:gd name="connsiteY106" fmla="*/ 228601 h 1252539"/>
                <a:gd name="connsiteX107" fmla="*/ 283329 w 1250950"/>
                <a:gd name="connsiteY107" fmla="*/ 189271 h 1252539"/>
                <a:gd name="connsiteX108" fmla="*/ 311137 w 1250950"/>
                <a:gd name="connsiteY108" fmla="*/ 82723 h 1252539"/>
                <a:gd name="connsiteX109" fmla="*/ 339659 w 1250950"/>
                <a:gd name="connsiteY109" fmla="*/ 73158 h 1252539"/>
                <a:gd name="connsiteX110" fmla="*/ 625476 w 1250950"/>
                <a:gd name="connsiteY110" fmla="*/ 31750 h 1252539"/>
                <a:gd name="connsiteX111" fmla="*/ 593106 w 1250950"/>
                <a:gd name="connsiteY111" fmla="*/ 44598 h 1252539"/>
                <a:gd name="connsiteX112" fmla="*/ 579438 w 1250950"/>
                <a:gd name="connsiteY112" fmla="*/ 78145 h 1252539"/>
                <a:gd name="connsiteX113" fmla="*/ 625476 w 1250950"/>
                <a:gd name="connsiteY113" fmla="*/ 123825 h 1252539"/>
                <a:gd name="connsiteX114" fmla="*/ 671513 w 1250950"/>
                <a:gd name="connsiteY114" fmla="*/ 78145 h 1252539"/>
                <a:gd name="connsiteX115" fmla="*/ 625476 w 1250950"/>
                <a:gd name="connsiteY115" fmla="*/ 31750 h 1252539"/>
                <a:gd name="connsiteX116" fmla="*/ 625476 w 1250950"/>
                <a:gd name="connsiteY116" fmla="*/ 0 h 1252539"/>
                <a:gd name="connsiteX117" fmla="*/ 679713 w 1250950"/>
                <a:gd name="connsiteY117" fmla="*/ 22225 h 1252539"/>
                <a:gd name="connsiteX118" fmla="*/ 703263 w 1250950"/>
                <a:gd name="connsiteY118" fmla="*/ 78146 h 1252539"/>
                <a:gd name="connsiteX119" fmla="*/ 625476 w 1250950"/>
                <a:gd name="connsiteY119" fmla="*/ 155575 h 1252539"/>
                <a:gd name="connsiteX120" fmla="*/ 547688 w 1250950"/>
                <a:gd name="connsiteY120" fmla="*/ 78146 h 1252539"/>
                <a:gd name="connsiteX121" fmla="*/ 570525 w 1250950"/>
                <a:gd name="connsiteY121" fmla="*/ 22225 h 1252539"/>
                <a:gd name="connsiteX122" fmla="*/ 625476 w 1250950"/>
                <a:gd name="connsiteY122" fmla="*/ 0 h 1252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Lst>
              <a:rect l="l" t="t" r="r" b="b"/>
              <a:pathLst>
                <a:path w="1250950" h="1252539">
                  <a:moveTo>
                    <a:pt x="625475" y="1098551"/>
                  </a:moveTo>
                  <a:cubicBezTo>
                    <a:pt x="646171" y="1098551"/>
                    <a:pt x="665439" y="1107146"/>
                    <a:pt x="679712" y="1121470"/>
                  </a:cubicBezTo>
                  <a:cubicBezTo>
                    <a:pt x="694699" y="1135079"/>
                    <a:pt x="703263" y="1155133"/>
                    <a:pt x="703263" y="1175187"/>
                  </a:cubicBezTo>
                  <a:cubicBezTo>
                    <a:pt x="703263" y="1195957"/>
                    <a:pt x="694699" y="1215296"/>
                    <a:pt x="679712" y="1230336"/>
                  </a:cubicBezTo>
                  <a:cubicBezTo>
                    <a:pt x="665439" y="1244661"/>
                    <a:pt x="646171" y="1252539"/>
                    <a:pt x="625475" y="1252539"/>
                  </a:cubicBezTo>
                  <a:cubicBezTo>
                    <a:pt x="582656" y="1252539"/>
                    <a:pt x="547688" y="1218160"/>
                    <a:pt x="547688" y="1175187"/>
                  </a:cubicBezTo>
                  <a:cubicBezTo>
                    <a:pt x="547688" y="1132930"/>
                    <a:pt x="582656" y="1098551"/>
                    <a:pt x="625475" y="1098551"/>
                  </a:cubicBezTo>
                  <a:close/>
                  <a:moveTo>
                    <a:pt x="889746" y="1025387"/>
                  </a:moveTo>
                  <a:cubicBezTo>
                    <a:pt x="899620" y="1024137"/>
                    <a:pt x="909583" y="1024851"/>
                    <a:pt x="918834" y="1027352"/>
                  </a:cubicBezTo>
                  <a:cubicBezTo>
                    <a:pt x="938760" y="1033067"/>
                    <a:pt x="955839" y="1045211"/>
                    <a:pt x="965802" y="1063071"/>
                  </a:cubicBezTo>
                  <a:cubicBezTo>
                    <a:pt x="975053" y="1080930"/>
                    <a:pt x="977900" y="1102361"/>
                    <a:pt x="972918" y="1121650"/>
                  </a:cubicBezTo>
                  <a:cubicBezTo>
                    <a:pt x="967937" y="1141652"/>
                    <a:pt x="955127" y="1159512"/>
                    <a:pt x="937336" y="1169513"/>
                  </a:cubicBezTo>
                  <a:cubicBezTo>
                    <a:pt x="925239" y="1176657"/>
                    <a:pt x="912429" y="1179514"/>
                    <a:pt x="900331" y="1179514"/>
                  </a:cubicBezTo>
                  <a:cubicBezTo>
                    <a:pt x="873289" y="1179514"/>
                    <a:pt x="848382" y="1165941"/>
                    <a:pt x="834149" y="1140223"/>
                  </a:cubicBezTo>
                  <a:cubicBezTo>
                    <a:pt x="812800" y="1103790"/>
                    <a:pt x="825609" y="1056641"/>
                    <a:pt x="861191" y="1035210"/>
                  </a:cubicBezTo>
                  <a:cubicBezTo>
                    <a:pt x="870087" y="1029852"/>
                    <a:pt x="879872" y="1026637"/>
                    <a:pt x="889746" y="1025387"/>
                  </a:cubicBezTo>
                  <a:close/>
                  <a:moveTo>
                    <a:pt x="360188" y="1024249"/>
                  </a:moveTo>
                  <a:cubicBezTo>
                    <a:pt x="370124" y="1025590"/>
                    <a:pt x="379791" y="1028987"/>
                    <a:pt x="388741" y="1034350"/>
                  </a:cubicBezTo>
                  <a:cubicBezTo>
                    <a:pt x="425977" y="1055087"/>
                    <a:pt x="438150" y="1103714"/>
                    <a:pt x="417384" y="1140183"/>
                  </a:cubicBezTo>
                  <a:cubicBezTo>
                    <a:pt x="403063" y="1165211"/>
                    <a:pt x="376568" y="1179513"/>
                    <a:pt x="350074" y="1179513"/>
                  </a:cubicBezTo>
                  <a:cubicBezTo>
                    <a:pt x="337185" y="1179513"/>
                    <a:pt x="323580" y="1175938"/>
                    <a:pt x="311406" y="1169502"/>
                  </a:cubicBezTo>
                  <a:cubicBezTo>
                    <a:pt x="293505" y="1158060"/>
                    <a:pt x="280616" y="1141613"/>
                    <a:pt x="275603" y="1121591"/>
                  </a:cubicBezTo>
                  <a:cubicBezTo>
                    <a:pt x="269875" y="1101568"/>
                    <a:pt x="272739" y="1080831"/>
                    <a:pt x="283480" y="1062238"/>
                  </a:cubicBezTo>
                  <a:cubicBezTo>
                    <a:pt x="293505" y="1044361"/>
                    <a:pt x="309974" y="1031489"/>
                    <a:pt x="330024" y="1026484"/>
                  </a:cubicBezTo>
                  <a:cubicBezTo>
                    <a:pt x="340049" y="1023623"/>
                    <a:pt x="350253" y="1022908"/>
                    <a:pt x="360188" y="1024249"/>
                  </a:cubicBezTo>
                  <a:close/>
                  <a:moveTo>
                    <a:pt x="1110520" y="825552"/>
                  </a:moveTo>
                  <a:cubicBezTo>
                    <a:pt x="1120393" y="826740"/>
                    <a:pt x="1130156" y="829851"/>
                    <a:pt x="1139209" y="835005"/>
                  </a:cubicBezTo>
                  <a:cubicBezTo>
                    <a:pt x="1157670" y="845669"/>
                    <a:pt x="1170450" y="862020"/>
                    <a:pt x="1175420" y="881926"/>
                  </a:cubicBezTo>
                  <a:cubicBezTo>
                    <a:pt x="1181100" y="901832"/>
                    <a:pt x="1178260" y="922449"/>
                    <a:pt x="1168320" y="939511"/>
                  </a:cubicBezTo>
                  <a:cubicBezTo>
                    <a:pt x="1154119" y="964394"/>
                    <a:pt x="1127139" y="977901"/>
                    <a:pt x="1100868" y="977901"/>
                  </a:cubicBezTo>
                  <a:cubicBezTo>
                    <a:pt x="1088087" y="977901"/>
                    <a:pt x="1074597" y="974347"/>
                    <a:pt x="1062526" y="967237"/>
                  </a:cubicBezTo>
                  <a:cubicBezTo>
                    <a:pt x="1025605" y="946620"/>
                    <a:pt x="1012825" y="899699"/>
                    <a:pt x="1034835" y="863442"/>
                  </a:cubicBezTo>
                  <a:cubicBezTo>
                    <a:pt x="1045131" y="844958"/>
                    <a:pt x="1062171" y="832695"/>
                    <a:pt x="1081164" y="827629"/>
                  </a:cubicBezTo>
                  <a:cubicBezTo>
                    <a:pt x="1090661" y="825097"/>
                    <a:pt x="1100646" y="824363"/>
                    <a:pt x="1110520" y="825552"/>
                  </a:cubicBezTo>
                  <a:close/>
                  <a:moveTo>
                    <a:pt x="139908" y="823788"/>
                  </a:moveTo>
                  <a:cubicBezTo>
                    <a:pt x="149840" y="822532"/>
                    <a:pt x="160040" y="823250"/>
                    <a:pt x="170061" y="825762"/>
                  </a:cubicBezTo>
                  <a:cubicBezTo>
                    <a:pt x="190103" y="830785"/>
                    <a:pt x="207282" y="843703"/>
                    <a:pt x="217303" y="861644"/>
                  </a:cubicBezTo>
                  <a:cubicBezTo>
                    <a:pt x="228040" y="879585"/>
                    <a:pt x="230188" y="900396"/>
                    <a:pt x="225177" y="920490"/>
                  </a:cubicBezTo>
                  <a:cubicBezTo>
                    <a:pt x="219451" y="940584"/>
                    <a:pt x="206567" y="957090"/>
                    <a:pt x="188672" y="967854"/>
                  </a:cubicBezTo>
                  <a:cubicBezTo>
                    <a:pt x="177219" y="975031"/>
                    <a:pt x="162903" y="977901"/>
                    <a:pt x="150019" y="977901"/>
                  </a:cubicBezTo>
                  <a:cubicBezTo>
                    <a:pt x="122819" y="977901"/>
                    <a:pt x="97050" y="964266"/>
                    <a:pt x="82734" y="939149"/>
                  </a:cubicBezTo>
                  <a:cubicBezTo>
                    <a:pt x="72713" y="921208"/>
                    <a:pt x="69850" y="900396"/>
                    <a:pt x="74860" y="880302"/>
                  </a:cubicBezTo>
                  <a:cubicBezTo>
                    <a:pt x="80587" y="860208"/>
                    <a:pt x="93471" y="843703"/>
                    <a:pt x="111366" y="833656"/>
                  </a:cubicBezTo>
                  <a:cubicBezTo>
                    <a:pt x="120313" y="828273"/>
                    <a:pt x="129977" y="825044"/>
                    <a:pt x="139908" y="823788"/>
                  </a:cubicBezTo>
                  <a:close/>
                  <a:moveTo>
                    <a:pt x="78145" y="581025"/>
                  </a:moveTo>
                  <a:cubicBezTo>
                    <a:pt x="51736" y="581025"/>
                    <a:pt x="31750" y="601526"/>
                    <a:pt x="31750" y="626269"/>
                  </a:cubicBezTo>
                  <a:cubicBezTo>
                    <a:pt x="31750" y="651012"/>
                    <a:pt x="51736" y="671513"/>
                    <a:pt x="78145" y="671513"/>
                  </a:cubicBezTo>
                  <a:cubicBezTo>
                    <a:pt x="103126" y="671513"/>
                    <a:pt x="123825" y="651012"/>
                    <a:pt x="123825" y="626269"/>
                  </a:cubicBezTo>
                  <a:cubicBezTo>
                    <a:pt x="123825" y="601526"/>
                    <a:pt x="103126" y="581025"/>
                    <a:pt x="78145" y="581025"/>
                  </a:cubicBezTo>
                  <a:close/>
                  <a:moveTo>
                    <a:pt x="1174396" y="549276"/>
                  </a:moveTo>
                  <a:cubicBezTo>
                    <a:pt x="1216926" y="549276"/>
                    <a:pt x="1250950" y="584958"/>
                    <a:pt x="1250950" y="627064"/>
                  </a:cubicBezTo>
                  <a:cubicBezTo>
                    <a:pt x="1250950" y="647759"/>
                    <a:pt x="1243153" y="667028"/>
                    <a:pt x="1228976" y="682014"/>
                  </a:cubicBezTo>
                  <a:cubicBezTo>
                    <a:pt x="1214091" y="697001"/>
                    <a:pt x="1194952" y="704851"/>
                    <a:pt x="1174396" y="704851"/>
                  </a:cubicBezTo>
                  <a:cubicBezTo>
                    <a:pt x="1153840" y="704851"/>
                    <a:pt x="1134701" y="697001"/>
                    <a:pt x="1121233" y="682014"/>
                  </a:cubicBezTo>
                  <a:cubicBezTo>
                    <a:pt x="1107056" y="667028"/>
                    <a:pt x="1098550" y="647759"/>
                    <a:pt x="1098550" y="627064"/>
                  </a:cubicBezTo>
                  <a:cubicBezTo>
                    <a:pt x="1098550" y="584958"/>
                    <a:pt x="1132574" y="549276"/>
                    <a:pt x="1174396" y="549276"/>
                  </a:cubicBezTo>
                  <a:close/>
                  <a:moveTo>
                    <a:pt x="77349" y="549275"/>
                  </a:moveTo>
                  <a:cubicBezTo>
                    <a:pt x="119217" y="549275"/>
                    <a:pt x="153988" y="584244"/>
                    <a:pt x="153988" y="627063"/>
                  </a:cubicBezTo>
                  <a:cubicBezTo>
                    <a:pt x="153988" y="669881"/>
                    <a:pt x="119217" y="704850"/>
                    <a:pt x="77349" y="704850"/>
                  </a:cubicBezTo>
                  <a:cubicBezTo>
                    <a:pt x="34062" y="704850"/>
                    <a:pt x="0" y="669881"/>
                    <a:pt x="0" y="627063"/>
                  </a:cubicBezTo>
                  <a:cubicBezTo>
                    <a:pt x="0" y="584244"/>
                    <a:pt x="34062" y="549275"/>
                    <a:pt x="77349" y="549275"/>
                  </a:cubicBezTo>
                  <a:close/>
                  <a:moveTo>
                    <a:pt x="150337" y="304801"/>
                  </a:moveTo>
                  <a:cubicBezTo>
                    <a:pt x="146051" y="304801"/>
                    <a:pt x="142479" y="305514"/>
                    <a:pt x="138193" y="306228"/>
                  </a:cubicBezTo>
                  <a:cubicBezTo>
                    <a:pt x="126763" y="309794"/>
                    <a:pt x="116761" y="316926"/>
                    <a:pt x="110332" y="327624"/>
                  </a:cubicBezTo>
                  <a:cubicBezTo>
                    <a:pt x="104617" y="338323"/>
                    <a:pt x="103188" y="350448"/>
                    <a:pt x="106046" y="362572"/>
                  </a:cubicBezTo>
                  <a:cubicBezTo>
                    <a:pt x="108903" y="373984"/>
                    <a:pt x="116761" y="384682"/>
                    <a:pt x="127477" y="391101"/>
                  </a:cubicBezTo>
                  <a:cubicBezTo>
                    <a:pt x="148908" y="403226"/>
                    <a:pt x="177484" y="396094"/>
                    <a:pt x="190342" y="373271"/>
                  </a:cubicBezTo>
                  <a:cubicBezTo>
                    <a:pt x="203201" y="351874"/>
                    <a:pt x="195343" y="324058"/>
                    <a:pt x="173197" y="311220"/>
                  </a:cubicBezTo>
                  <a:cubicBezTo>
                    <a:pt x="166054" y="306941"/>
                    <a:pt x="158195" y="304801"/>
                    <a:pt x="150337" y="304801"/>
                  </a:cubicBezTo>
                  <a:close/>
                  <a:moveTo>
                    <a:pt x="1091768" y="275124"/>
                  </a:moveTo>
                  <a:cubicBezTo>
                    <a:pt x="1121772" y="271451"/>
                    <a:pt x="1152576" y="285609"/>
                    <a:pt x="1168578" y="313390"/>
                  </a:cubicBezTo>
                  <a:cubicBezTo>
                    <a:pt x="1190625" y="350432"/>
                    <a:pt x="1177112" y="398158"/>
                    <a:pt x="1140130" y="419529"/>
                  </a:cubicBezTo>
                  <a:cubicBezTo>
                    <a:pt x="1128751" y="426652"/>
                    <a:pt x="1115238" y="430214"/>
                    <a:pt x="1101725" y="430214"/>
                  </a:cubicBezTo>
                  <a:cubicBezTo>
                    <a:pt x="1094613" y="430214"/>
                    <a:pt x="1088212" y="428789"/>
                    <a:pt x="1081100" y="427364"/>
                  </a:cubicBezTo>
                  <a:cubicBezTo>
                    <a:pt x="1061898" y="421666"/>
                    <a:pt x="1044829" y="408844"/>
                    <a:pt x="1034872" y="390323"/>
                  </a:cubicBezTo>
                  <a:cubicBezTo>
                    <a:pt x="1012825" y="353993"/>
                    <a:pt x="1025626" y="306266"/>
                    <a:pt x="1062609" y="284896"/>
                  </a:cubicBezTo>
                  <a:cubicBezTo>
                    <a:pt x="1071854" y="279554"/>
                    <a:pt x="1081767" y="276348"/>
                    <a:pt x="1091768" y="275124"/>
                  </a:cubicBezTo>
                  <a:close/>
                  <a:moveTo>
                    <a:pt x="160548" y="275101"/>
                  </a:moveTo>
                  <a:cubicBezTo>
                    <a:pt x="170663" y="276336"/>
                    <a:pt x="180745" y="279538"/>
                    <a:pt x="190245" y="284875"/>
                  </a:cubicBezTo>
                  <a:cubicBezTo>
                    <a:pt x="226808" y="306224"/>
                    <a:pt x="239713" y="353193"/>
                    <a:pt x="218205" y="390198"/>
                  </a:cubicBezTo>
                  <a:cubicBezTo>
                    <a:pt x="203866" y="415105"/>
                    <a:pt x="177340" y="428626"/>
                    <a:pt x="150813" y="428626"/>
                  </a:cubicBezTo>
                  <a:cubicBezTo>
                    <a:pt x="137191" y="428626"/>
                    <a:pt x="124287" y="425780"/>
                    <a:pt x="112099" y="418663"/>
                  </a:cubicBezTo>
                  <a:cubicBezTo>
                    <a:pt x="74818" y="397314"/>
                    <a:pt x="61913" y="349634"/>
                    <a:pt x="83421" y="312629"/>
                  </a:cubicBezTo>
                  <a:cubicBezTo>
                    <a:pt x="99552" y="285409"/>
                    <a:pt x="130201" y="271399"/>
                    <a:pt x="160548" y="275101"/>
                  </a:cubicBezTo>
                  <a:close/>
                  <a:moveTo>
                    <a:pt x="349683" y="104776"/>
                  </a:moveTo>
                  <a:cubicBezTo>
                    <a:pt x="341724" y="104776"/>
                    <a:pt x="333765" y="106916"/>
                    <a:pt x="326529" y="110482"/>
                  </a:cubicBezTo>
                  <a:cubicBezTo>
                    <a:pt x="304822" y="124033"/>
                    <a:pt x="296863" y="151849"/>
                    <a:pt x="309887" y="173959"/>
                  </a:cubicBezTo>
                  <a:cubicBezTo>
                    <a:pt x="322911" y="195356"/>
                    <a:pt x="351130" y="203201"/>
                    <a:pt x="373560" y="190363"/>
                  </a:cubicBezTo>
                  <a:cubicBezTo>
                    <a:pt x="395991" y="177525"/>
                    <a:pt x="403226" y="149709"/>
                    <a:pt x="390926" y="128313"/>
                  </a:cubicBezTo>
                  <a:cubicBezTo>
                    <a:pt x="384414" y="116901"/>
                    <a:pt x="374284" y="109055"/>
                    <a:pt x="361983" y="106203"/>
                  </a:cubicBezTo>
                  <a:cubicBezTo>
                    <a:pt x="357642" y="104776"/>
                    <a:pt x="354024" y="104776"/>
                    <a:pt x="349683" y="104776"/>
                  </a:cubicBezTo>
                  <a:close/>
                  <a:moveTo>
                    <a:pt x="910324" y="73158"/>
                  </a:moveTo>
                  <a:cubicBezTo>
                    <a:pt x="920323" y="74343"/>
                    <a:pt x="930254" y="77473"/>
                    <a:pt x="939560" y="82659"/>
                  </a:cubicBezTo>
                  <a:cubicBezTo>
                    <a:pt x="957455" y="94106"/>
                    <a:pt x="970339" y="110560"/>
                    <a:pt x="975349" y="130591"/>
                  </a:cubicBezTo>
                  <a:cubicBezTo>
                    <a:pt x="981076" y="150622"/>
                    <a:pt x="978213" y="171369"/>
                    <a:pt x="967476" y="189254"/>
                  </a:cubicBezTo>
                  <a:cubicBezTo>
                    <a:pt x="957455" y="207139"/>
                    <a:pt x="940991" y="220731"/>
                    <a:pt x="920949" y="225739"/>
                  </a:cubicBezTo>
                  <a:cubicBezTo>
                    <a:pt x="913791" y="227885"/>
                    <a:pt x="907349" y="228601"/>
                    <a:pt x="900907" y="228601"/>
                  </a:cubicBezTo>
                  <a:cubicBezTo>
                    <a:pt x="887307" y="228601"/>
                    <a:pt x="873707" y="225024"/>
                    <a:pt x="862254" y="217870"/>
                  </a:cubicBezTo>
                  <a:cubicBezTo>
                    <a:pt x="844359" y="207139"/>
                    <a:pt x="831475" y="190685"/>
                    <a:pt x="825748" y="170654"/>
                  </a:cubicBezTo>
                  <a:cubicBezTo>
                    <a:pt x="820738" y="150622"/>
                    <a:pt x="823601" y="129876"/>
                    <a:pt x="833622" y="111991"/>
                  </a:cubicBezTo>
                  <a:cubicBezTo>
                    <a:pt x="849727" y="83554"/>
                    <a:pt x="880328" y="69603"/>
                    <a:pt x="910324" y="73158"/>
                  </a:cubicBezTo>
                  <a:close/>
                  <a:moveTo>
                    <a:pt x="339659" y="73158"/>
                  </a:moveTo>
                  <a:cubicBezTo>
                    <a:pt x="349641" y="71818"/>
                    <a:pt x="359980" y="72354"/>
                    <a:pt x="370319" y="74857"/>
                  </a:cubicBezTo>
                  <a:cubicBezTo>
                    <a:pt x="390284" y="80577"/>
                    <a:pt x="407396" y="93449"/>
                    <a:pt x="417379" y="111326"/>
                  </a:cubicBezTo>
                  <a:cubicBezTo>
                    <a:pt x="427361" y="129919"/>
                    <a:pt x="430213" y="150656"/>
                    <a:pt x="425222" y="170679"/>
                  </a:cubicBezTo>
                  <a:cubicBezTo>
                    <a:pt x="419518" y="190701"/>
                    <a:pt x="406683" y="207148"/>
                    <a:pt x="388858" y="217875"/>
                  </a:cubicBezTo>
                  <a:cubicBezTo>
                    <a:pt x="376736" y="225026"/>
                    <a:pt x="363188" y="228601"/>
                    <a:pt x="350354" y="228601"/>
                  </a:cubicBezTo>
                  <a:cubicBezTo>
                    <a:pt x="323259" y="228601"/>
                    <a:pt x="297590" y="213584"/>
                    <a:pt x="283329" y="189271"/>
                  </a:cubicBezTo>
                  <a:cubicBezTo>
                    <a:pt x="261938" y="152086"/>
                    <a:pt x="274773" y="104175"/>
                    <a:pt x="311137" y="82723"/>
                  </a:cubicBezTo>
                  <a:cubicBezTo>
                    <a:pt x="320050" y="77717"/>
                    <a:pt x="329676" y="74499"/>
                    <a:pt x="339659" y="73158"/>
                  </a:cubicBezTo>
                  <a:close/>
                  <a:moveTo>
                    <a:pt x="625476" y="31750"/>
                  </a:moveTo>
                  <a:cubicBezTo>
                    <a:pt x="613247" y="31750"/>
                    <a:pt x="601738" y="36033"/>
                    <a:pt x="593106" y="44598"/>
                  </a:cubicBezTo>
                  <a:cubicBezTo>
                    <a:pt x="584474" y="53163"/>
                    <a:pt x="579438" y="66011"/>
                    <a:pt x="579438" y="78145"/>
                  </a:cubicBezTo>
                  <a:cubicBezTo>
                    <a:pt x="579438" y="103126"/>
                    <a:pt x="600299" y="123825"/>
                    <a:pt x="625476" y="123825"/>
                  </a:cubicBezTo>
                  <a:cubicBezTo>
                    <a:pt x="650653" y="123825"/>
                    <a:pt x="671513" y="103126"/>
                    <a:pt x="671513" y="78145"/>
                  </a:cubicBezTo>
                  <a:cubicBezTo>
                    <a:pt x="671513" y="51735"/>
                    <a:pt x="650653" y="31750"/>
                    <a:pt x="625476" y="31750"/>
                  </a:cubicBezTo>
                  <a:close/>
                  <a:moveTo>
                    <a:pt x="625476" y="0"/>
                  </a:moveTo>
                  <a:cubicBezTo>
                    <a:pt x="646172" y="0"/>
                    <a:pt x="665440" y="7886"/>
                    <a:pt x="679713" y="22225"/>
                  </a:cubicBezTo>
                  <a:cubicBezTo>
                    <a:pt x="695413" y="37281"/>
                    <a:pt x="703263" y="56638"/>
                    <a:pt x="703263" y="78146"/>
                  </a:cubicBezTo>
                  <a:cubicBezTo>
                    <a:pt x="703263" y="120445"/>
                    <a:pt x="668295" y="155575"/>
                    <a:pt x="625476" y="155575"/>
                  </a:cubicBezTo>
                  <a:cubicBezTo>
                    <a:pt x="583371" y="155575"/>
                    <a:pt x="547688" y="120445"/>
                    <a:pt x="547688" y="78146"/>
                  </a:cubicBezTo>
                  <a:cubicBezTo>
                    <a:pt x="547688" y="56638"/>
                    <a:pt x="555538" y="37281"/>
                    <a:pt x="570525" y="22225"/>
                  </a:cubicBezTo>
                  <a:cubicBezTo>
                    <a:pt x="585512" y="7886"/>
                    <a:pt x="604780" y="0"/>
                    <a:pt x="625476" y="0"/>
                  </a:cubicBezTo>
                  <a:close/>
                </a:path>
              </a:pathLst>
            </a:custGeom>
            <a:solidFill>
              <a:srgbClr val="FFFFFF"/>
            </a:solidFill>
            <a:ln>
              <a:noFill/>
            </a:ln>
            <a:extLst/>
          </p:spPr>
          <p:txBody>
            <a:bodyPr vert="horz" wrap="square" lIns="91440" tIns="45720" rIns="91440" bIns="45720" numCol="1" anchor="t" anchorCtr="0" compatLnSpc="1">
              <a:prstTxWarp prst="textNoShape">
                <a:avLst/>
              </a:prstTxWarp>
              <a:noAutofit/>
            </a:bodyPr>
            <a:lstStyle/>
            <a:p>
              <a:endParaRPr lang="en-US" dirty="0"/>
            </a:p>
          </p:txBody>
        </p:sp>
      </p:grpSp>
    </p:spTree>
    <p:extLst>
      <p:ext uri="{BB962C8B-B14F-4D97-AF65-F5344CB8AC3E}">
        <p14:creationId xmlns:p14="http://schemas.microsoft.com/office/powerpoint/2010/main" val="1488695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7970436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9576" name="think-cell Slide" r:id="rId6" imgW="410" imgH="409" progId="TCLayout.ActiveDocument.1">
                  <p:embed/>
                </p:oleObj>
              </mc:Choice>
              <mc:Fallback>
                <p:oleObj name="think-cell Slide" r:id="rId6" imgW="410" imgH="409"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3400" dirty="0" smtClean="0">
              <a:solidFill>
                <a:srgbClr val="FFFFFF"/>
              </a:solidFill>
              <a:latin typeface="Trebuchet MS" panose="020B0603020202020204" pitchFamily="34" charset="0"/>
              <a:ea typeface="+mj-ea"/>
              <a:cs typeface="+mj-cs"/>
              <a:sym typeface="Trebuchet MS" panose="020B0603020202020204" pitchFamily="34" charset="0"/>
            </a:endParaRPr>
          </a:p>
        </p:txBody>
      </p:sp>
      <p:sp>
        <p:nvSpPr>
          <p:cNvPr id="3" name="Title 2"/>
          <p:cNvSpPr>
            <a:spLocks noGrp="1"/>
          </p:cNvSpPr>
          <p:nvPr>
            <p:ph type="title"/>
          </p:nvPr>
        </p:nvSpPr>
        <p:spPr/>
        <p:txBody>
          <a:bodyPr/>
          <a:lstStyle/>
          <a:p>
            <a:r>
              <a:rPr lang="en-US" dirty="0" err="1" smtClean="0"/>
              <a:t>ETL</a:t>
            </a:r>
            <a:r>
              <a:rPr lang="en-US" dirty="0" smtClean="0"/>
              <a:t> Process</a:t>
            </a:r>
            <a:endParaRPr lang="en-US" dirty="0"/>
          </a:p>
        </p:txBody>
      </p:sp>
    </p:spTree>
    <p:extLst>
      <p:ext uri="{BB962C8B-B14F-4D97-AF65-F5344CB8AC3E}">
        <p14:creationId xmlns:p14="http://schemas.microsoft.com/office/powerpoint/2010/main" val="12775133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7269199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0600" name="think-cell Slide" r:id="rId6" imgW="410" imgH="409" progId="TCLayout.ActiveDocument.1">
                  <p:embed/>
                </p:oleObj>
              </mc:Choice>
              <mc:Fallback>
                <p:oleObj name="think-cell Slide" r:id="rId6" imgW="410" imgH="409"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3400" dirty="0" smtClean="0">
              <a:solidFill>
                <a:srgbClr val="FFFFFF"/>
              </a:solidFill>
              <a:latin typeface="Trebuchet MS" panose="020B0603020202020204" pitchFamily="34" charset="0"/>
              <a:ea typeface="+mj-ea"/>
              <a:cs typeface="+mj-cs"/>
              <a:sym typeface="Trebuchet MS" panose="020B0603020202020204" pitchFamily="34" charset="0"/>
            </a:endParaRPr>
          </a:p>
        </p:txBody>
      </p:sp>
      <p:sp>
        <p:nvSpPr>
          <p:cNvPr id="3" name="Title 2"/>
          <p:cNvSpPr>
            <a:spLocks noGrp="1"/>
          </p:cNvSpPr>
          <p:nvPr>
            <p:ph type="title"/>
          </p:nvPr>
        </p:nvSpPr>
        <p:spPr/>
        <p:txBody>
          <a:bodyPr/>
          <a:lstStyle/>
          <a:p>
            <a:r>
              <a:rPr lang="en-US" dirty="0" err="1" smtClean="0"/>
              <a:t>ETL</a:t>
            </a:r>
            <a:r>
              <a:rPr lang="en-US" dirty="0" smtClean="0"/>
              <a:t> Process</a:t>
            </a:r>
            <a:endParaRPr lang="en-US" dirty="0"/>
          </a:p>
        </p:txBody>
      </p:sp>
    </p:spTree>
    <p:extLst>
      <p:ext uri="{BB962C8B-B14F-4D97-AF65-F5344CB8AC3E}">
        <p14:creationId xmlns:p14="http://schemas.microsoft.com/office/powerpoint/2010/main" val="42504473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36400528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1631" name="think-cell Slide" r:id="rId6" imgW="410" imgH="409" progId="TCLayout.ActiveDocument.1">
                  <p:embed/>
                </p:oleObj>
              </mc:Choice>
              <mc:Fallback>
                <p:oleObj name="think-cell Slide" r:id="rId6" imgW="410" imgH="409"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3200" dirty="0" smtClean="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 name="Title 1"/>
          <p:cNvSpPr>
            <a:spLocks noGrp="1"/>
          </p:cNvSpPr>
          <p:nvPr>
            <p:ph type="title"/>
          </p:nvPr>
        </p:nvSpPr>
        <p:spPr/>
        <p:txBody>
          <a:bodyPr/>
          <a:lstStyle/>
          <a:p>
            <a:r>
              <a:rPr lang="en-US" dirty="0" smtClean="0"/>
              <a:t>Conclusion	</a:t>
            </a:r>
            <a:endParaRPr lang="en-US" dirty="0"/>
          </a:p>
        </p:txBody>
      </p:sp>
      <p:sp>
        <p:nvSpPr>
          <p:cNvPr id="5" name="TextBox 4"/>
          <p:cNvSpPr txBox="1"/>
          <p:nvPr/>
        </p:nvSpPr>
        <p:spPr>
          <a:xfrm>
            <a:off x="4404167" y="1996633"/>
            <a:ext cx="5769980" cy="347819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indent="-285750">
              <a:buFont typeface="Arial" panose="020B0604020202020204" pitchFamily="34" charset="0"/>
              <a:buChar char="•"/>
            </a:pPr>
            <a:r>
              <a:rPr lang="en-US" dirty="0" smtClean="0">
                <a:solidFill>
                  <a:srgbClr val="575757"/>
                </a:solidFill>
              </a:rPr>
              <a:t>Points</a:t>
            </a:r>
          </a:p>
          <a:p>
            <a:pPr marL="285750" indent="-285750">
              <a:buFont typeface="Arial" panose="020B0604020202020204" pitchFamily="34" charset="0"/>
              <a:buChar char="•"/>
            </a:pPr>
            <a:r>
              <a:rPr lang="en-US" dirty="0" smtClean="0">
                <a:solidFill>
                  <a:srgbClr val="575757"/>
                </a:solidFill>
              </a:rPr>
              <a:t>Made</a:t>
            </a:r>
          </a:p>
          <a:p>
            <a:pPr marL="285750" indent="-285750">
              <a:buFont typeface="Arial" panose="020B0604020202020204" pitchFamily="34" charset="0"/>
              <a:buChar char="•"/>
            </a:pPr>
            <a:r>
              <a:rPr lang="en-US" dirty="0" smtClean="0">
                <a:solidFill>
                  <a:srgbClr val="575757"/>
                </a:solidFill>
              </a:rPr>
              <a:t>Questions?</a:t>
            </a:r>
          </a:p>
          <a:p>
            <a:endParaRPr lang="en-US" dirty="0" smtClean="0">
              <a:solidFill>
                <a:srgbClr val="575757"/>
              </a:solidFill>
            </a:endParaRPr>
          </a:p>
          <a:p>
            <a:pPr algn="ctr"/>
            <a:endParaRPr lang="en-US" dirty="0">
              <a:solidFill>
                <a:srgbClr val="575757"/>
              </a:solidFill>
            </a:endParaRPr>
          </a:p>
        </p:txBody>
      </p:sp>
      <p:graphicFrame>
        <p:nvGraphicFramePr>
          <p:cNvPr id="6" name="Object 5" hidden="1"/>
          <p:cNvGraphicFramePr>
            <a:graphicFrameLocks noChangeAspect="1"/>
          </p:cNvGraphicFramePr>
          <p:nvPr>
            <p:custDataLst>
              <p:tags r:id="rId4"/>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1632" name="think-cell Slide" r:id="rId8" imgW="360" imgH="360" progId="TCLayout.ActiveDocument.1">
                  <p:embed/>
                </p:oleObj>
              </mc:Choice>
              <mc:Fallback>
                <p:oleObj name="think-cell Slide" r:id="rId8" imgW="360" imgH="360" progId="TCLayout.ActiveDocument.1">
                  <p:embed/>
                  <p:pic>
                    <p:nvPicPr>
                      <p:cNvPr id="0" na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7" name="Group 6"/>
          <p:cNvGrpSpPr>
            <a:grpSpLocks noChangeAspect="1"/>
          </p:cNvGrpSpPr>
          <p:nvPr/>
        </p:nvGrpSpPr>
        <p:grpSpPr>
          <a:xfrm>
            <a:off x="731520" y="3657600"/>
            <a:ext cx="1641475" cy="1641475"/>
            <a:chOff x="5275263" y="2608263"/>
            <a:chExt cx="1641475" cy="1641475"/>
          </a:xfrm>
        </p:grpSpPr>
        <p:sp>
          <p:nvSpPr>
            <p:cNvPr id="8" name="AutoShape 29"/>
            <p:cNvSpPr>
              <a:spLocks noChangeAspect="1" noChangeArrowheads="1" noTextEdit="1"/>
            </p:cNvSpPr>
            <p:nvPr/>
          </p:nvSpPr>
          <p:spPr bwMode="auto">
            <a:xfrm>
              <a:off x="5275263" y="2608263"/>
              <a:ext cx="1641475" cy="1641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 name="Freeform 8"/>
            <p:cNvSpPr>
              <a:spLocks/>
            </p:cNvSpPr>
            <p:nvPr/>
          </p:nvSpPr>
          <p:spPr bwMode="auto">
            <a:xfrm>
              <a:off x="5510213" y="2794001"/>
              <a:ext cx="1171576" cy="1268413"/>
            </a:xfrm>
            <a:custGeom>
              <a:avLst/>
              <a:gdLst>
                <a:gd name="connsiteX0" fmla="*/ 623888 w 1171576"/>
                <a:gd name="connsiteY0" fmla="*/ 669925 h 1268413"/>
                <a:gd name="connsiteX1" fmla="*/ 1113715 w 1171576"/>
                <a:gd name="connsiteY1" fmla="*/ 669925 h 1268413"/>
                <a:gd name="connsiteX2" fmla="*/ 1113715 w 1171576"/>
                <a:gd name="connsiteY2" fmla="*/ 700562 h 1268413"/>
                <a:gd name="connsiteX3" fmla="*/ 1113715 w 1171576"/>
                <a:gd name="connsiteY3" fmla="*/ 1164390 h 1268413"/>
                <a:gd name="connsiteX4" fmla="*/ 1009920 w 1171576"/>
                <a:gd name="connsiteY4" fmla="*/ 1268413 h 1268413"/>
                <a:gd name="connsiteX5" fmla="*/ 656591 w 1171576"/>
                <a:gd name="connsiteY5" fmla="*/ 1268413 h 1268413"/>
                <a:gd name="connsiteX6" fmla="*/ 623888 w 1171576"/>
                <a:gd name="connsiteY6" fmla="*/ 1266988 h 1268413"/>
                <a:gd name="connsiteX7" fmla="*/ 623888 w 1171576"/>
                <a:gd name="connsiteY7" fmla="*/ 669925 h 1268413"/>
                <a:gd name="connsiteX8" fmla="*/ 55563 w 1171576"/>
                <a:gd name="connsiteY8" fmla="*/ 669925 h 1268413"/>
                <a:gd name="connsiteX9" fmla="*/ 546101 w 1171576"/>
                <a:gd name="connsiteY9" fmla="*/ 669925 h 1268413"/>
                <a:gd name="connsiteX10" fmla="*/ 546101 w 1171576"/>
                <a:gd name="connsiteY10" fmla="*/ 1266988 h 1268413"/>
                <a:gd name="connsiteX11" fmla="*/ 514063 w 1171576"/>
                <a:gd name="connsiteY11" fmla="*/ 1268413 h 1268413"/>
                <a:gd name="connsiteX12" fmla="*/ 160220 w 1171576"/>
                <a:gd name="connsiteY12" fmla="*/ 1268413 h 1268413"/>
                <a:gd name="connsiteX13" fmla="*/ 55563 w 1171576"/>
                <a:gd name="connsiteY13" fmla="*/ 1164390 h 1268413"/>
                <a:gd name="connsiteX14" fmla="*/ 55563 w 1171576"/>
                <a:gd name="connsiteY14" fmla="*/ 700562 h 1268413"/>
                <a:gd name="connsiteX15" fmla="*/ 55563 w 1171576"/>
                <a:gd name="connsiteY15" fmla="*/ 669925 h 1268413"/>
                <a:gd name="connsiteX16" fmla="*/ 623888 w 1171576"/>
                <a:gd name="connsiteY16" fmla="*/ 357187 h 1268413"/>
                <a:gd name="connsiteX17" fmla="*/ 1108272 w 1171576"/>
                <a:gd name="connsiteY17" fmla="*/ 357187 h 1268413"/>
                <a:gd name="connsiteX18" fmla="*/ 1171576 w 1171576"/>
                <a:gd name="connsiteY18" fmla="*/ 420640 h 1268413"/>
                <a:gd name="connsiteX19" fmla="*/ 1171576 w 1171576"/>
                <a:gd name="connsiteY19" fmla="*/ 531860 h 1268413"/>
                <a:gd name="connsiteX20" fmla="*/ 1108272 w 1171576"/>
                <a:gd name="connsiteY20" fmla="*/ 595312 h 1268413"/>
                <a:gd name="connsiteX21" fmla="*/ 623888 w 1171576"/>
                <a:gd name="connsiteY21" fmla="*/ 595312 h 1268413"/>
                <a:gd name="connsiteX22" fmla="*/ 623888 w 1171576"/>
                <a:gd name="connsiteY22" fmla="*/ 357187 h 1268413"/>
                <a:gd name="connsiteX23" fmla="*/ 63367 w 1171576"/>
                <a:gd name="connsiteY23" fmla="*/ 357187 h 1268413"/>
                <a:gd name="connsiteX24" fmla="*/ 546100 w 1171576"/>
                <a:gd name="connsiteY24" fmla="*/ 357187 h 1268413"/>
                <a:gd name="connsiteX25" fmla="*/ 546100 w 1171576"/>
                <a:gd name="connsiteY25" fmla="*/ 595312 h 1268413"/>
                <a:gd name="connsiteX26" fmla="*/ 63367 w 1171576"/>
                <a:gd name="connsiteY26" fmla="*/ 595312 h 1268413"/>
                <a:gd name="connsiteX27" fmla="*/ 0 w 1171576"/>
                <a:gd name="connsiteY27" fmla="*/ 531860 h 1268413"/>
                <a:gd name="connsiteX28" fmla="*/ 0 w 1171576"/>
                <a:gd name="connsiteY28" fmla="*/ 420640 h 1268413"/>
                <a:gd name="connsiteX29" fmla="*/ 63367 w 1171576"/>
                <a:gd name="connsiteY29" fmla="*/ 357187 h 1268413"/>
                <a:gd name="connsiteX30" fmla="*/ 869973 w 1171576"/>
                <a:gd name="connsiteY30" fmla="*/ 30162 h 1268413"/>
                <a:gd name="connsiteX31" fmla="*/ 601663 w 1171576"/>
                <a:gd name="connsiteY31" fmla="*/ 285677 h 1268413"/>
                <a:gd name="connsiteX32" fmla="*/ 602377 w 1171576"/>
                <a:gd name="connsiteY32" fmla="*/ 288531 h 1268413"/>
                <a:gd name="connsiteX33" fmla="*/ 640911 w 1171576"/>
                <a:gd name="connsiteY33" fmla="*/ 292100 h 1268413"/>
                <a:gd name="connsiteX34" fmla="*/ 944900 w 1171576"/>
                <a:gd name="connsiteY34" fmla="*/ 175049 h 1268413"/>
                <a:gd name="connsiteX35" fmla="*/ 941332 w 1171576"/>
                <a:gd name="connsiteY35" fmla="*/ 81551 h 1268413"/>
                <a:gd name="connsiteX36" fmla="*/ 869973 w 1171576"/>
                <a:gd name="connsiteY36" fmla="*/ 30162 h 1268413"/>
                <a:gd name="connsiteX37" fmla="*/ 300016 w 1171576"/>
                <a:gd name="connsiteY37" fmla="*/ 30162 h 1268413"/>
                <a:gd name="connsiteX38" fmla="*/ 228657 w 1171576"/>
                <a:gd name="connsiteY38" fmla="*/ 81551 h 1268413"/>
                <a:gd name="connsiteX39" fmla="*/ 225089 w 1171576"/>
                <a:gd name="connsiteY39" fmla="*/ 175049 h 1268413"/>
                <a:gd name="connsiteX40" fmla="*/ 529079 w 1171576"/>
                <a:gd name="connsiteY40" fmla="*/ 292100 h 1268413"/>
                <a:gd name="connsiteX41" fmla="*/ 567613 w 1171576"/>
                <a:gd name="connsiteY41" fmla="*/ 288531 h 1268413"/>
                <a:gd name="connsiteX42" fmla="*/ 568326 w 1171576"/>
                <a:gd name="connsiteY42" fmla="*/ 285677 h 1268413"/>
                <a:gd name="connsiteX43" fmla="*/ 300016 w 1171576"/>
                <a:gd name="connsiteY43" fmla="*/ 30162 h 1268413"/>
                <a:gd name="connsiteX44" fmla="*/ 300130 w 1171576"/>
                <a:gd name="connsiteY44" fmla="*/ 0 h 1268413"/>
                <a:gd name="connsiteX45" fmla="*/ 501672 w 1171576"/>
                <a:gd name="connsiteY45" fmla="*/ 139505 h 1268413"/>
                <a:gd name="connsiteX46" fmla="*/ 570039 w 1171576"/>
                <a:gd name="connsiteY46" fmla="*/ 231322 h 1268413"/>
                <a:gd name="connsiteX47" fmla="*/ 680425 w 1171576"/>
                <a:gd name="connsiteY47" fmla="*/ 27047 h 1268413"/>
                <a:gd name="connsiteX48" fmla="*/ 701077 w 1171576"/>
                <a:gd name="connsiteY48" fmla="*/ 34876 h 1268413"/>
                <a:gd name="connsiteX49" fmla="*/ 693243 w 1171576"/>
                <a:gd name="connsiteY49" fmla="*/ 54806 h 1268413"/>
                <a:gd name="connsiteX50" fmla="*/ 602087 w 1171576"/>
                <a:gd name="connsiteY50" fmla="*/ 229898 h 1268413"/>
                <a:gd name="connsiteX51" fmla="*/ 668318 w 1171576"/>
                <a:gd name="connsiteY51" fmla="*/ 139505 h 1268413"/>
                <a:gd name="connsiteX52" fmla="*/ 869860 w 1171576"/>
                <a:gd name="connsiteY52" fmla="*/ 0 h 1268413"/>
                <a:gd name="connsiteX53" fmla="*/ 968138 w 1171576"/>
                <a:gd name="connsiteY53" fmla="*/ 66905 h 1268413"/>
                <a:gd name="connsiteX54" fmla="*/ 971699 w 1171576"/>
                <a:gd name="connsiteY54" fmla="*/ 191463 h 1268413"/>
                <a:gd name="connsiteX55" fmla="*/ 820721 w 1171576"/>
                <a:gd name="connsiteY55" fmla="*/ 292533 h 1268413"/>
                <a:gd name="connsiteX56" fmla="*/ 641256 w 1171576"/>
                <a:gd name="connsiteY56" fmla="*/ 323850 h 1268413"/>
                <a:gd name="connsiteX57" fmla="*/ 584995 w 1171576"/>
                <a:gd name="connsiteY57" fmla="*/ 316021 h 1268413"/>
                <a:gd name="connsiteX58" fmla="*/ 528734 w 1171576"/>
                <a:gd name="connsiteY58" fmla="*/ 323850 h 1268413"/>
                <a:gd name="connsiteX59" fmla="*/ 349269 w 1171576"/>
                <a:gd name="connsiteY59" fmla="*/ 292533 h 1268413"/>
                <a:gd name="connsiteX60" fmla="*/ 198290 w 1171576"/>
                <a:gd name="connsiteY60" fmla="*/ 191463 h 1268413"/>
                <a:gd name="connsiteX61" fmla="*/ 201851 w 1171576"/>
                <a:gd name="connsiteY61" fmla="*/ 66905 h 1268413"/>
                <a:gd name="connsiteX62" fmla="*/ 300130 w 1171576"/>
                <a:gd name="connsiteY62" fmla="*/ 0 h 1268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1171576" h="1268413">
                  <a:moveTo>
                    <a:pt x="623888" y="669925"/>
                  </a:moveTo>
                  <a:cubicBezTo>
                    <a:pt x="787401" y="669925"/>
                    <a:pt x="948781" y="669925"/>
                    <a:pt x="1113715" y="669925"/>
                  </a:cubicBezTo>
                  <a:cubicBezTo>
                    <a:pt x="1113715" y="680612"/>
                    <a:pt x="1113715" y="690587"/>
                    <a:pt x="1113715" y="700562"/>
                  </a:cubicBezTo>
                  <a:cubicBezTo>
                    <a:pt x="1113715" y="855171"/>
                    <a:pt x="1114426" y="1009781"/>
                    <a:pt x="1113715" y="1164390"/>
                  </a:cubicBezTo>
                  <a:cubicBezTo>
                    <a:pt x="1113715" y="1235639"/>
                    <a:pt x="1081013" y="1268413"/>
                    <a:pt x="1009920" y="1268413"/>
                  </a:cubicBezTo>
                  <a:cubicBezTo>
                    <a:pt x="891196" y="1268413"/>
                    <a:pt x="773893" y="1268413"/>
                    <a:pt x="656591" y="1268413"/>
                  </a:cubicBezTo>
                  <a:cubicBezTo>
                    <a:pt x="645927" y="1268413"/>
                    <a:pt x="635974" y="1267701"/>
                    <a:pt x="623888" y="1266988"/>
                  </a:cubicBezTo>
                  <a:cubicBezTo>
                    <a:pt x="623888" y="1067492"/>
                    <a:pt x="623888" y="870134"/>
                    <a:pt x="623888" y="669925"/>
                  </a:cubicBezTo>
                  <a:close/>
                  <a:moveTo>
                    <a:pt x="55563" y="669925"/>
                  </a:moveTo>
                  <a:cubicBezTo>
                    <a:pt x="220737" y="669925"/>
                    <a:pt x="382351" y="669925"/>
                    <a:pt x="546101" y="669925"/>
                  </a:cubicBezTo>
                  <a:cubicBezTo>
                    <a:pt x="546101" y="870134"/>
                    <a:pt x="546101" y="1067492"/>
                    <a:pt x="546101" y="1266988"/>
                  </a:cubicBezTo>
                  <a:cubicBezTo>
                    <a:pt x="533998" y="1267701"/>
                    <a:pt x="524031" y="1268413"/>
                    <a:pt x="514063" y="1268413"/>
                  </a:cubicBezTo>
                  <a:cubicBezTo>
                    <a:pt x="395878" y="1268413"/>
                    <a:pt x="278406" y="1268413"/>
                    <a:pt x="160220" y="1268413"/>
                  </a:cubicBezTo>
                  <a:cubicBezTo>
                    <a:pt x="88313" y="1268413"/>
                    <a:pt x="55563" y="1235639"/>
                    <a:pt x="55563" y="1164390"/>
                  </a:cubicBezTo>
                  <a:cubicBezTo>
                    <a:pt x="55563" y="1009781"/>
                    <a:pt x="55563" y="855171"/>
                    <a:pt x="55563" y="700562"/>
                  </a:cubicBezTo>
                  <a:cubicBezTo>
                    <a:pt x="55563" y="690587"/>
                    <a:pt x="55563" y="680612"/>
                    <a:pt x="55563" y="669925"/>
                  </a:cubicBezTo>
                  <a:close/>
                  <a:moveTo>
                    <a:pt x="623888" y="357187"/>
                  </a:moveTo>
                  <a:cubicBezTo>
                    <a:pt x="623888" y="357187"/>
                    <a:pt x="623888" y="357187"/>
                    <a:pt x="1108272" y="357187"/>
                  </a:cubicBezTo>
                  <a:cubicBezTo>
                    <a:pt x="1143125" y="357187"/>
                    <a:pt x="1171576" y="385705"/>
                    <a:pt x="1171576" y="420640"/>
                  </a:cubicBezTo>
                  <a:cubicBezTo>
                    <a:pt x="1171576" y="420640"/>
                    <a:pt x="1171576" y="420640"/>
                    <a:pt x="1171576" y="531860"/>
                  </a:cubicBezTo>
                  <a:cubicBezTo>
                    <a:pt x="1171576" y="566794"/>
                    <a:pt x="1143125" y="595312"/>
                    <a:pt x="1108272" y="595312"/>
                  </a:cubicBezTo>
                  <a:cubicBezTo>
                    <a:pt x="1108272" y="595312"/>
                    <a:pt x="1108272" y="595312"/>
                    <a:pt x="623888" y="595312"/>
                  </a:cubicBezTo>
                  <a:cubicBezTo>
                    <a:pt x="623888" y="595312"/>
                    <a:pt x="623888" y="595312"/>
                    <a:pt x="623888" y="357187"/>
                  </a:cubicBezTo>
                  <a:close/>
                  <a:moveTo>
                    <a:pt x="63367" y="357187"/>
                  </a:moveTo>
                  <a:cubicBezTo>
                    <a:pt x="63367" y="357187"/>
                    <a:pt x="63367" y="357187"/>
                    <a:pt x="546100" y="357187"/>
                  </a:cubicBezTo>
                  <a:cubicBezTo>
                    <a:pt x="546100" y="357187"/>
                    <a:pt x="546100" y="357187"/>
                    <a:pt x="546100" y="595312"/>
                  </a:cubicBezTo>
                  <a:cubicBezTo>
                    <a:pt x="546100" y="595312"/>
                    <a:pt x="546100" y="595312"/>
                    <a:pt x="63367" y="595312"/>
                  </a:cubicBezTo>
                  <a:cubicBezTo>
                    <a:pt x="28480" y="595312"/>
                    <a:pt x="0" y="566794"/>
                    <a:pt x="0" y="531860"/>
                  </a:cubicBezTo>
                  <a:cubicBezTo>
                    <a:pt x="0" y="531860"/>
                    <a:pt x="0" y="531860"/>
                    <a:pt x="0" y="420640"/>
                  </a:cubicBezTo>
                  <a:cubicBezTo>
                    <a:pt x="0" y="385705"/>
                    <a:pt x="28480" y="357187"/>
                    <a:pt x="63367" y="357187"/>
                  </a:cubicBezTo>
                  <a:close/>
                  <a:moveTo>
                    <a:pt x="869973" y="30162"/>
                  </a:moveTo>
                  <a:cubicBezTo>
                    <a:pt x="777206" y="30162"/>
                    <a:pt x="648760" y="208594"/>
                    <a:pt x="601663" y="285677"/>
                  </a:cubicBezTo>
                  <a:cubicBezTo>
                    <a:pt x="602377" y="286390"/>
                    <a:pt x="602377" y="287818"/>
                    <a:pt x="602377" y="288531"/>
                  </a:cubicBezTo>
                  <a:cubicBezTo>
                    <a:pt x="608799" y="290673"/>
                    <a:pt x="620930" y="292100"/>
                    <a:pt x="640911" y="292100"/>
                  </a:cubicBezTo>
                  <a:cubicBezTo>
                    <a:pt x="737245" y="292100"/>
                    <a:pt x="900657" y="249990"/>
                    <a:pt x="944900" y="175049"/>
                  </a:cubicBezTo>
                  <a:cubicBezTo>
                    <a:pt x="962026" y="146500"/>
                    <a:pt x="960599" y="115809"/>
                    <a:pt x="941332" y="81551"/>
                  </a:cubicBezTo>
                  <a:cubicBezTo>
                    <a:pt x="922065" y="45864"/>
                    <a:pt x="898517" y="30162"/>
                    <a:pt x="869973" y="30162"/>
                  </a:cubicBezTo>
                  <a:close/>
                  <a:moveTo>
                    <a:pt x="300016" y="30162"/>
                  </a:moveTo>
                  <a:cubicBezTo>
                    <a:pt x="271473" y="30162"/>
                    <a:pt x="247924" y="45864"/>
                    <a:pt x="228657" y="81551"/>
                  </a:cubicBezTo>
                  <a:cubicBezTo>
                    <a:pt x="209390" y="115809"/>
                    <a:pt x="207963" y="146500"/>
                    <a:pt x="225089" y="175049"/>
                  </a:cubicBezTo>
                  <a:cubicBezTo>
                    <a:pt x="269332" y="249990"/>
                    <a:pt x="432744" y="292100"/>
                    <a:pt x="529079" y="292100"/>
                  </a:cubicBezTo>
                  <a:cubicBezTo>
                    <a:pt x="549059" y="292100"/>
                    <a:pt x="561190" y="290673"/>
                    <a:pt x="567613" y="288531"/>
                  </a:cubicBezTo>
                  <a:cubicBezTo>
                    <a:pt x="567613" y="287818"/>
                    <a:pt x="567613" y="286390"/>
                    <a:pt x="568326" y="285677"/>
                  </a:cubicBezTo>
                  <a:cubicBezTo>
                    <a:pt x="521229" y="208594"/>
                    <a:pt x="392783" y="30162"/>
                    <a:pt x="300016" y="30162"/>
                  </a:cubicBezTo>
                  <a:close/>
                  <a:moveTo>
                    <a:pt x="300130" y="0"/>
                  </a:moveTo>
                  <a:cubicBezTo>
                    <a:pt x="356390" y="0"/>
                    <a:pt x="424758" y="46264"/>
                    <a:pt x="501672" y="139505"/>
                  </a:cubicBezTo>
                  <a:cubicBezTo>
                    <a:pt x="528734" y="173669"/>
                    <a:pt x="552947" y="207122"/>
                    <a:pt x="570039" y="231322"/>
                  </a:cubicBezTo>
                  <a:cubicBezTo>
                    <a:pt x="576449" y="176516"/>
                    <a:pt x="599950" y="64058"/>
                    <a:pt x="680425" y="27047"/>
                  </a:cubicBezTo>
                  <a:cubicBezTo>
                    <a:pt x="688258" y="23488"/>
                    <a:pt x="697516" y="27047"/>
                    <a:pt x="701077" y="34876"/>
                  </a:cubicBezTo>
                  <a:cubicBezTo>
                    <a:pt x="704638" y="42706"/>
                    <a:pt x="701077" y="51247"/>
                    <a:pt x="693243" y="54806"/>
                  </a:cubicBezTo>
                  <a:cubicBezTo>
                    <a:pt x="629861" y="84699"/>
                    <a:pt x="608496" y="177940"/>
                    <a:pt x="602087" y="229898"/>
                  </a:cubicBezTo>
                  <a:cubicBezTo>
                    <a:pt x="618466" y="204987"/>
                    <a:pt x="641968" y="172246"/>
                    <a:pt x="668318" y="139505"/>
                  </a:cubicBezTo>
                  <a:cubicBezTo>
                    <a:pt x="745231" y="46264"/>
                    <a:pt x="813599" y="0"/>
                    <a:pt x="869860" y="0"/>
                  </a:cubicBezTo>
                  <a:cubicBezTo>
                    <a:pt x="909741" y="0"/>
                    <a:pt x="943213" y="22776"/>
                    <a:pt x="968138" y="66905"/>
                  </a:cubicBezTo>
                  <a:cubicBezTo>
                    <a:pt x="993064" y="111034"/>
                    <a:pt x="993776" y="153740"/>
                    <a:pt x="971699" y="191463"/>
                  </a:cubicBezTo>
                  <a:cubicBezTo>
                    <a:pt x="941076" y="242710"/>
                    <a:pt x="872709" y="274739"/>
                    <a:pt x="820721" y="292533"/>
                  </a:cubicBezTo>
                  <a:cubicBezTo>
                    <a:pt x="763035" y="311750"/>
                    <a:pt x="693956" y="323850"/>
                    <a:pt x="641256" y="323850"/>
                  </a:cubicBezTo>
                  <a:cubicBezTo>
                    <a:pt x="612769" y="323850"/>
                    <a:pt x="595677" y="320291"/>
                    <a:pt x="584995" y="316021"/>
                  </a:cubicBezTo>
                  <a:cubicBezTo>
                    <a:pt x="574312" y="320291"/>
                    <a:pt x="557220" y="323850"/>
                    <a:pt x="528734" y="323850"/>
                  </a:cubicBezTo>
                  <a:cubicBezTo>
                    <a:pt x="476034" y="323850"/>
                    <a:pt x="406954" y="311750"/>
                    <a:pt x="349269" y="292533"/>
                  </a:cubicBezTo>
                  <a:cubicBezTo>
                    <a:pt x="297281" y="274739"/>
                    <a:pt x="228913" y="242710"/>
                    <a:pt x="198290" y="191463"/>
                  </a:cubicBezTo>
                  <a:cubicBezTo>
                    <a:pt x="176213" y="153740"/>
                    <a:pt x="176925" y="111034"/>
                    <a:pt x="201851" y="66905"/>
                  </a:cubicBezTo>
                  <a:cubicBezTo>
                    <a:pt x="226777" y="22776"/>
                    <a:pt x="260248" y="0"/>
                    <a:pt x="300130" y="0"/>
                  </a:cubicBez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spTree>
    <p:extLst>
      <p:ext uri="{BB962C8B-B14F-4D97-AF65-F5344CB8AC3E}">
        <p14:creationId xmlns:p14="http://schemas.microsoft.com/office/powerpoint/2010/main" val="37303582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33937161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6267" name="think-cell Slide" r:id="rId4" imgW="410" imgH="409" progId="TCLayout.ActiveDocument.1">
                  <p:embed/>
                </p:oleObj>
              </mc:Choice>
              <mc:Fallback>
                <p:oleObj name="think-cell Slide" r:id="rId4" imgW="410" imgH="409"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smtClean="0"/>
              <a:t>Agenda</a:t>
            </a:r>
            <a:endParaRPr lang="en-US" dirty="0"/>
          </a:p>
        </p:txBody>
      </p:sp>
      <p:sp>
        <p:nvSpPr>
          <p:cNvPr id="5" name="TextBox 4"/>
          <p:cNvSpPr txBox="1"/>
          <p:nvPr/>
        </p:nvSpPr>
        <p:spPr>
          <a:xfrm>
            <a:off x="4404167" y="1996633"/>
            <a:ext cx="5769980" cy="347819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indent="-285750">
              <a:buFont typeface="Arial" panose="020B0604020202020204" pitchFamily="34" charset="0"/>
              <a:buChar char="•"/>
            </a:pPr>
            <a:r>
              <a:rPr lang="en-US" dirty="0" smtClean="0">
                <a:solidFill>
                  <a:srgbClr val="575757"/>
                </a:solidFill>
              </a:rPr>
              <a:t>Andrew (Clustering)</a:t>
            </a:r>
          </a:p>
          <a:p>
            <a:pPr marL="285750" indent="-285750">
              <a:buFont typeface="Arial" panose="020B0604020202020204" pitchFamily="34" charset="0"/>
              <a:buChar char="•"/>
            </a:pPr>
            <a:r>
              <a:rPr lang="en-US" dirty="0" smtClean="0">
                <a:solidFill>
                  <a:srgbClr val="575757"/>
                </a:solidFill>
              </a:rPr>
              <a:t>Patricia (Random Forest)</a:t>
            </a:r>
          </a:p>
          <a:p>
            <a:pPr marL="285750" indent="-285750">
              <a:buFont typeface="Arial" panose="020B0604020202020204" pitchFamily="34" charset="0"/>
              <a:buChar char="•"/>
            </a:pPr>
            <a:r>
              <a:rPr lang="en-US" dirty="0" smtClean="0">
                <a:solidFill>
                  <a:srgbClr val="575757"/>
                </a:solidFill>
              </a:rPr>
              <a:t>Harish (End Point Tracking)</a:t>
            </a:r>
          </a:p>
          <a:p>
            <a:pPr marL="285750" indent="-285750">
              <a:buFont typeface="Arial" panose="020B0604020202020204" pitchFamily="34" charset="0"/>
              <a:buChar char="•"/>
            </a:pPr>
            <a:r>
              <a:rPr lang="en-US" dirty="0">
                <a:solidFill>
                  <a:srgbClr val="575757"/>
                </a:solidFill>
              </a:rPr>
              <a:t>Cy &amp; </a:t>
            </a:r>
            <a:r>
              <a:rPr lang="en-US" dirty="0" err="1">
                <a:solidFill>
                  <a:srgbClr val="575757"/>
                </a:solidFill>
              </a:rPr>
              <a:t>Sirish</a:t>
            </a:r>
            <a:r>
              <a:rPr lang="en-US" dirty="0">
                <a:solidFill>
                  <a:srgbClr val="575757"/>
                </a:solidFill>
              </a:rPr>
              <a:t> (</a:t>
            </a:r>
            <a:r>
              <a:rPr lang="en-US" dirty="0" err="1">
                <a:solidFill>
                  <a:srgbClr val="575757"/>
                </a:solidFill>
              </a:rPr>
              <a:t>ETL</a:t>
            </a:r>
            <a:r>
              <a:rPr lang="en-US" dirty="0">
                <a:solidFill>
                  <a:srgbClr val="575757"/>
                </a:solidFill>
              </a:rPr>
              <a:t> process and fun stuff </a:t>
            </a:r>
            <a:r>
              <a:rPr lang="en-US" dirty="0">
                <a:solidFill>
                  <a:srgbClr val="575757"/>
                </a:solidFill>
                <a:sym typeface="Wingdings" panose="05000000000000000000" pitchFamily="2" charset="2"/>
              </a:rPr>
              <a:t> </a:t>
            </a:r>
            <a:r>
              <a:rPr lang="en-US" dirty="0" smtClean="0">
                <a:solidFill>
                  <a:srgbClr val="575757"/>
                </a:solidFill>
                <a:sym typeface="Wingdings" panose="05000000000000000000" pitchFamily="2" charset="2"/>
              </a:rPr>
              <a:t>)</a:t>
            </a:r>
          </a:p>
          <a:p>
            <a:pPr marL="285750" indent="-285750">
              <a:buFont typeface="Arial" panose="020B0604020202020204" pitchFamily="34" charset="0"/>
              <a:buChar char="•"/>
            </a:pPr>
            <a:r>
              <a:rPr lang="en-US" dirty="0" smtClean="0">
                <a:solidFill>
                  <a:srgbClr val="575757"/>
                </a:solidFill>
                <a:sym typeface="Wingdings" panose="05000000000000000000" pitchFamily="2" charset="2"/>
              </a:rPr>
              <a:t>Conclusion</a:t>
            </a:r>
            <a:r>
              <a:rPr lang="en-US" dirty="0" smtClean="0">
                <a:solidFill>
                  <a:srgbClr val="575757"/>
                </a:solidFill>
              </a:rPr>
              <a:t> </a:t>
            </a:r>
          </a:p>
          <a:p>
            <a:endParaRPr lang="en-US" dirty="0" smtClean="0">
              <a:solidFill>
                <a:srgbClr val="575757"/>
              </a:solidFill>
            </a:endParaRPr>
          </a:p>
          <a:p>
            <a:pPr algn="ctr"/>
            <a:endParaRPr lang="en-US" dirty="0">
              <a:solidFill>
                <a:srgbClr val="575757"/>
              </a:solidFill>
            </a:endParaRPr>
          </a:p>
        </p:txBody>
      </p:sp>
      <p:grpSp>
        <p:nvGrpSpPr>
          <p:cNvPr id="6" name="bcgBugs_CalendarYear"/>
          <p:cNvGrpSpPr>
            <a:grpSpLocks noChangeAspect="1"/>
          </p:cNvGrpSpPr>
          <p:nvPr/>
        </p:nvGrpSpPr>
        <p:grpSpPr bwMode="auto">
          <a:xfrm>
            <a:off x="780551" y="3932498"/>
            <a:ext cx="1019313" cy="1020311"/>
            <a:chOff x="2818" y="1137"/>
            <a:chExt cx="2044" cy="2046"/>
          </a:xfrm>
        </p:grpSpPr>
        <p:sp>
          <p:nvSpPr>
            <p:cNvPr id="7" name="AutoShape 6"/>
            <p:cNvSpPr>
              <a:spLocks noChangeAspect="1" noChangeArrowheads="1" noTextEdit="1"/>
            </p:cNvSpPr>
            <p:nvPr/>
          </p:nvSpPr>
          <p:spPr bwMode="auto">
            <a:xfrm>
              <a:off x="2818" y="1137"/>
              <a:ext cx="2044" cy="2046"/>
            </a:xfrm>
            <a:prstGeom prst="rect">
              <a:avLst/>
            </a:prstGeom>
            <a:noFill/>
            <a:ln w="9525" cap="flat" cmpd="sng" algn="ctr">
              <a:solidFill>
                <a:srgbClr val="FFFFFF"/>
              </a:solidFill>
              <a:prstDash val="solid"/>
              <a:miter lim="800000"/>
              <a:headEnd type="none" w="med" len="med"/>
              <a:tailEnd type="none" w="med" len="me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8" name="Freeform 8"/>
            <p:cNvSpPr>
              <a:spLocks noEditPoints="1"/>
            </p:cNvSpPr>
            <p:nvPr/>
          </p:nvSpPr>
          <p:spPr bwMode="auto">
            <a:xfrm>
              <a:off x="2941" y="1448"/>
              <a:ext cx="1800" cy="1467"/>
            </a:xfrm>
            <a:custGeom>
              <a:avLst/>
              <a:gdLst>
                <a:gd name="T0" fmla="*/ 240 w 880"/>
                <a:gd name="T1" fmla="*/ 133 h 716"/>
                <a:gd name="T2" fmla="*/ 170 w 880"/>
                <a:gd name="T3" fmla="*/ 143 h 716"/>
                <a:gd name="T4" fmla="*/ 160 w 880"/>
                <a:gd name="T5" fmla="*/ 10 h 716"/>
                <a:gd name="T6" fmla="*/ 230 w 880"/>
                <a:gd name="T7" fmla="*/ 0 h 716"/>
                <a:gd name="T8" fmla="*/ 710 w 880"/>
                <a:gd name="T9" fmla="*/ 0 h 716"/>
                <a:gd name="T10" fmla="*/ 640 w 880"/>
                <a:gd name="T11" fmla="*/ 10 h 716"/>
                <a:gd name="T12" fmla="*/ 650 w 880"/>
                <a:gd name="T13" fmla="*/ 143 h 716"/>
                <a:gd name="T14" fmla="*/ 720 w 880"/>
                <a:gd name="T15" fmla="*/ 133 h 716"/>
                <a:gd name="T16" fmla="*/ 710 w 880"/>
                <a:gd name="T17" fmla="*/ 0 h 716"/>
                <a:gd name="T18" fmla="*/ 764 w 880"/>
                <a:gd name="T19" fmla="*/ 44 h 716"/>
                <a:gd name="T20" fmla="*/ 742 w 880"/>
                <a:gd name="T21" fmla="*/ 187 h 716"/>
                <a:gd name="T22" fmla="*/ 596 w 880"/>
                <a:gd name="T23" fmla="*/ 165 h 716"/>
                <a:gd name="T24" fmla="*/ 284 w 880"/>
                <a:gd name="T25" fmla="*/ 44 h 716"/>
                <a:gd name="T26" fmla="*/ 262 w 880"/>
                <a:gd name="T27" fmla="*/ 187 h 716"/>
                <a:gd name="T28" fmla="*/ 116 w 880"/>
                <a:gd name="T29" fmla="*/ 165 h 716"/>
                <a:gd name="T30" fmla="*/ 22 w 880"/>
                <a:gd name="T31" fmla="*/ 44 h 716"/>
                <a:gd name="T32" fmla="*/ 0 w 880"/>
                <a:gd name="T33" fmla="*/ 694 h 716"/>
                <a:gd name="T34" fmla="*/ 858 w 880"/>
                <a:gd name="T35" fmla="*/ 716 h 716"/>
                <a:gd name="T36" fmla="*/ 880 w 880"/>
                <a:gd name="T37" fmla="*/ 66 h 716"/>
                <a:gd name="T38" fmla="*/ 220 w 880"/>
                <a:gd name="T39" fmla="*/ 617 h 716"/>
                <a:gd name="T40" fmla="*/ 110 w 880"/>
                <a:gd name="T41" fmla="*/ 627 h 716"/>
                <a:gd name="T42" fmla="*/ 100 w 880"/>
                <a:gd name="T43" fmla="*/ 517 h 716"/>
                <a:gd name="T44" fmla="*/ 210 w 880"/>
                <a:gd name="T45" fmla="*/ 507 h 716"/>
                <a:gd name="T46" fmla="*/ 220 w 880"/>
                <a:gd name="T47" fmla="*/ 617 h 716"/>
                <a:gd name="T48" fmla="*/ 210 w 880"/>
                <a:gd name="T49" fmla="*/ 439 h 716"/>
                <a:gd name="T50" fmla="*/ 100 w 880"/>
                <a:gd name="T51" fmla="*/ 429 h 716"/>
                <a:gd name="T52" fmla="*/ 110 w 880"/>
                <a:gd name="T53" fmla="*/ 319 h 716"/>
                <a:gd name="T54" fmla="*/ 220 w 880"/>
                <a:gd name="T55" fmla="*/ 329 h 716"/>
                <a:gd name="T56" fmla="*/ 407 w 880"/>
                <a:gd name="T57" fmla="*/ 617 h 716"/>
                <a:gd name="T58" fmla="*/ 297 w 880"/>
                <a:gd name="T59" fmla="*/ 627 h 716"/>
                <a:gd name="T60" fmla="*/ 287 w 880"/>
                <a:gd name="T61" fmla="*/ 517 h 716"/>
                <a:gd name="T62" fmla="*/ 397 w 880"/>
                <a:gd name="T63" fmla="*/ 507 h 716"/>
                <a:gd name="T64" fmla="*/ 407 w 880"/>
                <a:gd name="T65" fmla="*/ 617 h 716"/>
                <a:gd name="T66" fmla="*/ 397 w 880"/>
                <a:gd name="T67" fmla="*/ 439 h 716"/>
                <a:gd name="T68" fmla="*/ 287 w 880"/>
                <a:gd name="T69" fmla="*/ 429 h 716"/>
                <a:gd name="T70" fmla="*/ 297 w 880"/>
                <a:gd name="T71" fmla="*/ 319 h 716"/>
                <a:gd name="T72" fmla="*/ 407 w 880"/>
                <a:gd name="T73" fmla="*/ 329 h 716"/>
                <a:gd name="T74" fmla="*/ 593 w 880"/>
                <a:gd name="T75" fmla="*/ 617 h 716"/>
                <a:gd name="T76" fmla="*/ 483 w 880"/>
                <a:gd name="T77" fmla="*/ 627 h 716"/>
                <a:gd name="T78" fmla="*/ 473 w 880"/>
                <a:gd name="T79" fmla="*/ 517 h 716"/>
                <a:gd name="T80" fmla="*/ 583 w 880"/>
                <a:gd name="T81" fmla="*/ 507 h 716"/>
                <a:gd name="T82" fmla="*/ 593 w 880"/>
                <a:gd name="T83" fmla="*/ 617 h 716"/>
                <a:gd name="T84" fmla="*/ 583 w 880"/>
                <a:gd name="T85" fmla="*/ 439 h 716"/>
                <a:gd name="T86" fmla="*/ 473 w 880"/>
                <a:gd name="T87" fmla="*/ 429 h 716"/>
                <a:gd name="T88" fmla="*/ 483 w 880"/>
                <a:gd name="T89" fmla="*/ 319 h 716"/>
                <a:gd name="T90" fmla="*/ 593 w 880"/>
                <a:gd name="T91" fmla="*/ 329 h 716"/>
                <a:gd name="T92" fmla="*/ 780 w 880"/>
                <a:gd name="T93" fmla="*/ 617 h 716"/>
                <a:gd name="T94" fmla="*/ 670 w 880"/>
                <a:gd name="T95" fmla="*/ 627 h 716"/>
                <a:gd name="T96" fmla="*/ 660 w 880"/>
                <a:gd name="T97" fmla="*/ 517 h 716"/>
                <a:gd name="T98" fmla="*/ 770 w 880"/>
                <a:gd name="T99" fmla="*/ 507 h 716"/>
                <a:gd name="T100" fmla="*/ 780 w 880"/>
                <a:gd name="T101" fmla="*/ 617 h 716"/>
                <a:gd name="T102" fmla="*/ 770 w 880"/>
                <a:gd name="T103" fmla="*/ 439 h 716"/>
                <a:gd name="T104" fmla="*/ 660 w 880"/>
                <a:gd name="T105" fmla="*/ 429 h 716"/>
                <a:gd name="T106" fmla="*/ 670 w 880"/>
                <a:gd name="T107" fmla="*/ 319 h 716"/>
                <a:gd name="T108" fmla="*/ 780 w 880"/>
                <a:gd name="T109" fmla="*/ 329 h 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880" h="716">
                  <a:moveTo>
                    <a:pt x="240" y="10"/>
                  </a:moveTo>
                  <a:cubicBezTo>
                    <a:pt x="240" y="133"/>
                    <a:pt x="240" y="133"/>
                    <a:pt x="240" y="133"/>
                  </a:cubicBezTo>
                  <a:cubicBezTo>
                    <a:pt x="240" y="138"/>
                    <a:pt x="236" y="143"/>
                    <a:pt x="230" y="143"/>
                  </a:cubicBezTo>
                  <a:cubicBezTo>
                    <a:pt x="170" y="143"/>
                    <a:pt x="170" y="143"/>
                    <a:pt x="170" y="143"/>
                  </a:cubicBezTo>
                  <a:cubicBezTo>
                    <a:pt x="164" y="143"/>
                    <a:pt x="160" y="138"/>
                    <a:pt x="160" y="133"/>
                  </a:cubicBezTo>
                  <a:cubicBezTo>
                    <a:pt x="160" y="10"/>
                    <a:pt x="160" y="10"/>
                    <a:pt x="160" y="10"/>
                  </a:cubicBezTo>
                  <a:cubicBezTo>
                    <a:pt x="160" y="4"/>
                    <a:pt x="164" y="0"/>
                    <a:pt x="170" y="0"/>
                  </a:cubicBezTo>
                  <a:cubicBezTo>
                    <a:pt x="230" y="0"/>
                    <a:pt x="230" y="0"/>
                    <a:pt x="230" y="0"/>
                  </a:cubicBezTo>
                  <a:cubicBezTo>
                    <a:pt x="236" y="0"/>
                    <a:pt x="240" y="4"/>
                    <a:pt x="240" y="10"/>
                  </a:cubicBezTo>
                  <a:close/>
                  <a:moveTo>
                    <a:pt x="710" y="0"/>
                  </a:moveTo>
                  <a:cubicBezTo>
                    <a:pt x="650" y="0"/>
                    <a:pt x="650" y="0"/>
                    <a:pt x="650" y="0"/>
                  </a:cubicBezTo>
                  <a:cubicBezTo>
                    <a:pt x="644" y="0"/>
                    <a:pt x="640" y="4"/>
                    <a:pt x="640" y="10"/>
                  </a:cubicBezTo>
                  <a:cubicBezTo>
                    <a:pt x="640" y="133"/>
                    <a:pt x="640" y="133"/>
                    <a:pt x="640" y="133"/>
                  </a:cubicBezTo>
                  <a:cubicBezTo>
                    <a:pt x="640" y="138"/>
                    <a:pt x="644" y="143"/>
                    <a:pt x="650" y="143"/>
                  </a:cubicBezTo>
                  <a:cubicBezTo>
                    <a:pt x="710" y="143"/>
                    <a:pt x="710" y="143"/>
                    <a:pt x="710" y="143"/>
                  </a:cubicBezTo>
                  <a:cubicBezTo>
                    <a:pt x="716" y="143"/>
                    <a:pt x="720" y="138"/>
                    <a:pt x="720" y="133"/>
                  </a:cubicBezTo>
                  <a:cubicBezTo>
                    <a:pt x="720" y="10"/>
                    <a:pt x="720" y="10"/>
                    <a:pt x="720" y="10"/>
                  </a:cubicBezTo>
                  <a:cubicBezTo>
                    <a:pt x="720" y="4"/>
                    <a:pt x="716" y="0"/>
                    <a:pt x="710" y="0"/>
                  </a:cubicBezTo>
                  <a:close/>
                  <a:moveTo>
                    <a:pt x="858" y="44"/>
                  </a:moveTo>
                  <a:cubicBezTo>
                    <a:pt x="764" y="44"/>
                    <a:pt x="764" y="44"/>
                    <a:pt x="764" y="44"/>
                  </a:cubicBezTo>
                  <a:cubicBezTo>
                    <a:pt x="764" y="165"/>
                    <a:pt x="764" y="165"/>
                    <a:pt x="764" y="165"/>
                  </a:cubicBezTo>
                  <a:cubicBezTo>
                    <a:pt x="764" y="177"/>
                    <a:pt x="754" y="187"/>
                    <a:pt x="742" y="187"/>
                  </a:cubicBezTo>
                  <a:cubicBezTo>
                    <a:pt x="618" y="187"/>
                    <a:pt x="618" y="187"/>
                    <a:pt x="618" y="187"/>
                  </a:cubicBezTo>
                  <a:cubicBezTo>
                    <a:pt x="606" y="187"/>
                    <a:pt x="596" y="177"/>
                    <a:pt x="596" y="165"/>
                  </a:cubicBezTo>
                  <a:cubicBezTo>
                    <a:pt x="596" y="44"/>
                    <a:pt x="596" y="44"/>
                    <a:pt x="596" y="44"/>
                  </a:cubicBezTo>
                  <a:cubicBezTo>
                    <a:pt x="284" y="44"/>
                    <a:pt x="284" y="44"/>
                    <a:pt x="284" y="44"/>
                  </a:cubicBezTo>
                  <a:cubicBezTo>
                    <a:pt x="284" y="165"/>
                    <a:pt x="284" y="165"/>
                    <a:pt x="284" y="165"/>
                  </a:cubicBezTo>
                  <a:cubicBezTo>
                    <a:pt x="284" y="177"/>
                    <a:pt x="274" y="187"/>
                    <a:pt x="262" y="187"/>
                  </a:cubicBezTo>
                  <a:cubicBezTo>
                    <a:pt x="138" y="187"/>
                    <a:pt x="138" y="187"/>
                    <a:pt x="138" y="187"/>
                  </a:cubicBezTo>
                  <a:cubicBezTo>
                    <a:pt x="126" y="187"/>
                    <a:pt x="116" y="177"/>
                    <a:pt x="116" y="165"/>
                  </a:cubicBezTo>
                  <a:cubicBezTo>
                    <a:pt x="116" y="44"/>
                    <a:pt x="116" y="44"/>
                    <a:pt x="116" y="44"/>
                  </a:cubicBezTo>
                  <a:cubicBezTo>
                    <a:pt x="22" y="44"/>
                    <a:pt x="22" y="44"/>
                    <a:pt x="22" y="44"/>
                  </a:cubicBezTo>
                  <a:cubicBezTo>
                    <a:pt x="10" y="44"/>
                    <a:pt x="0" y="54"/>
                    <a:pt x="0" y="66"/>
                  </a:cubicBezTo>
                  <a:cubicBezTo>
                    <a:pt x="0" y="694"/>
                    <a:pt x="0" y="694"/>
                    <a:pt x="0" y="694"/>
                  </a:cubicBezTo>
                  <a:cubicBezTo>
                    <a:pt x="0" y="706"/>
                    <a:pt x="10" y="716"/>
                    <a:pt x="22" y="716"/>
                  </a:cubicBezTo>
                  <a:cubicBezTo>
                    <a:pt x="858" y="716"/>
                    <a:pt x="858" y="716"/>
                    <a:pt x="858" y="716"/>
                  </a:cubicBezTo>
                  <a:cubicBezTo>
                    <a:pt x="870" y="716"/>
                    <a:pt x="880" y="706"/>
                    <a:pt x="880" y="694"/>
                  </a:cubicBezTo>
                  <a:cubicBezTo>
                    <a:pt x="880" y="66"/>
                    <a:pt x="880" y="66"/>
                    <a:pt x="880" y="66"/>
                  </a:cubicBezTo>
                  <a:cubicBezTo>
                    <a:pt x="880" y="54"/>
                    <a:pt x="870" y="44"/>
                    <a:pt x="858" y="44"/>
                  </a:cubicBezTo>
                  <a:close/>
                  <a:moveTo>
                    <a:pt x="220" y="617"/>
                  </a:moveTo>
                  <a:cubicBezTo>
                    <a:pt x="220" y="623"/>
                    <a:pt x="215" y="627"/>
                    <a:pt x="210" y="627"/>
                  </a:cubicBezTo>
                  <a:cubicBezTo>
                    <a:pt x="110" y="627"/>
                    <a:pt x="110" y="627"/>
                    <a:pt x="110" y="627"/>
                  </a:cubicBezTo>
                  <a:cubicBezTo>
                    <a:pt x="104" y="627"/>
                    <a:pt x="100" y="623"/>
                    <a:pt x="100" y="617"/>
                  </a:cubicBezTo>
                  <a:cubicBezTo>
                    <a:pt x="100" y="517"/>
                    <a:pt x="100" y="517"/>
                    <a:pt x="100" y="517"/>
                  </a:cubicBezTo>
                  <a:cubicBezTo>
                    <a:pt x="100" y="511"/>
                    <a:pt x="104" y="507"/>
                    <a:pt x="110" y="507"/>
                  </a:cubicBezTo>
                  <a:cubicBezTo>
                    <a:pt x="210" y="507"/>
                    <a:pt x="210" y="507"/>
                    <a:pt x="210" y="507"/>
                  </a:cubicBezTo>
                  <a:cubicBezTo>
                    <a:pt x="215" y="507"/>
                    <a:pt x="220" y="511"/>
                    <a:pt x="220" y="517"/>
                  </a:cubicBezTo>
                  <a:lnTo>
                    <a:pt x="220" y="617"/>
                  </a:lnTo>
                  <a:close/>
                  <a:moveTo>
                    <a:pt x="220" y="429"/>
                  </a:moveTo>
                  <a:cubicBezTo>
                    <a:pt x="220" y="434"/>
                    <a:pt x="215" y="439"/>
                    <a:pt x="210" y="439"/>
                  </a:cubicBezTo>
                  <a:cubicBezTo>
                    <a:pt x="110" y="439"/>
                    <a:pt x="110" y="439"/>
                    <a:pt x="110" y="439"/>
                  </a:cubicBezTo>
                  <a:cubicBezTo>
                    <a:pt x="104" y="439"/>
                    <a:pt x="100" y="434"/>
                    <a:pt x="100" y="429"/>
                  </a:cubicBezTo>
                  <a:cubicBezTo>
                    <a:pt x="100" y="329"/>
                    <a:pt x="100" y="329"/>
                    <a:pt x="100" y="329"/>
                  </a:cubicBezTo>
                  <a:cubicBezTo>
                    <a:pt x="100" y="323"/>
                    <a:pt x="104" y="319"/>
                    <a:pt x="110" y="319"/>
                  </a:cubicBezTo>
                  <a:cubicBezTo>
                    <a:pt x="210" y="319"/>
                    <a:pt x="210" y="319"/>
                    <a:pt x="210" y="319"/>
                  </a:cubicBezTo>
                  <a:cubicBezTo>
                    <a:pt x="215" y="319"/>
                    <a:pt x="220" y="323"/>
                    <a:pt x="220" y="329"/>
                  </a:cubicBezTo>
                  <a:lnTo>
                    <a:pt x="220" y="429"/>
                  </a:lnTo>
                  <a:close/>
                  <a:moveTo>
                    <a:pt x="407" y="617"/>
                  </a:moveTo>
                  <a:cubicBezTo>
                    <a:pt x="407" y="623"/>
                    <a:pt x="402" y="627"/>
                    <a:pt x="397" y="627"/>
                  </a:cubicBezTo>
                  <a:cubicBezTo>
                    <a:pt x="297" y="627"/>
                    <a:pt x="297" y="627"/>
                    <a:pt x="297" y="627"/>
                  </a:cubicBezTo>
                  <a:cubicBezTo>
                    <a:pt x="291" y="627"/>
                    <a:pt x="287" y="623"/>
                    <a:pt x="287" y="617"/>
                  </a:cubicBezTo>
                  <a:cubicBezTo>
                    <a:pt x="287" y="517"/>
                    <a:pt x="287" y="517"/>
                    <a:pt x="287" y="517"/>
                  </a:cubicBezTo>
                  <a:cubicBezTo>
                    <a:pt x="287" y="511"/>
                    <a:pt x="291" y="507"/>
                    <a:pt x="297" y="507"/>
                  </a:cubicBezTo>
                  <a:cubicBezTo>
                    <a:pt x="397" y="507"/>
                    <a:pt x="397" y="507"/>
                    <a:pt x="397" y="507"/>
                  </a:cubicBezTo>
                  <a:cubicBezTo>
                    <a:pt x="402" y="507"/>
                    <a:pt x="407" y="511"/>
                    <a:pt x="407" y="517"/>
                  </a:cubicBezTo>
                  <a:lnTo>
                    <a:pt x="407" y="617"/>
                  </a:lnTo>
                  <a:close/>
                  <a:moveTo>
                    <a:pt x="407" y="429"/>
                  </a:moveTo>
                  <a:cubicBezTo>
                    <a:pt x="407" y="434"/>
                    <a:pt x="402" y="439"/>
                    <a:pt x="397" y="439"/>
                  </a:cubicBezTo>
                  <a:cubicBezTo>
                    <a:pt x="297" y="439"/>
                    <a:pt x="297" y="439"/>
                    <a:pt x="297" y="439"/>
                  </a:cubicBezTo>
                  <a:cubicBezTo>
                    <a:pt x="291" y="439"/>
                    <a:pt x="287" y="434"/>
                    <a:pt x="287" y="429"/>
                  </a:cubicBezTo>
                  <a:cubicBezTo>
                    <a:pt x="287" y="329"/>
                    <a:pt x="287" y="329"/>
                    <a:pt x="287" y="329"/>
                  </a:cubicBezTo>
                  <a:cubicBezTo>
                    <a:pt x="287" y="323"/>
                    <a:pt x="291" y="319"/>
                    <a:pt x="297" y="319"/>
                  </a:cubicBezTo>
                  <a:cubicBezTo>
                    <a:pt x="397" y="319"/>
                    <a:pt x="397" y="319"/>
                    <a:pt x="397" y="319"/>
                  </a:cubicBezTo>
                  <a:cubicBezTo>
                    <a:pt x="402" y="319"/>
                    <a:pt x="407" y="323"/>
                    <a:pt x="407" y="329"/>
                  </a:cubicBezTo>
                  <a:lnTo>
                    <a:pt x="407" y="429"/>
                  </a:lnTo>
                  <a:close/>
                  <a:moveTo>
                    <a:pt x="593" y="617"/>
                  </a:moveTo>
                  <a:cubicBezTo>
                    <a:pt x="593" y="623"/>
                    <a:pt x="589" y="627"/>
                    <a:pt x="583" y="627"/>
                  </a:cubicBezTo>
                  <a:cubicBezTo>
                    <a:pt x="483" y="627"/>
                    <a:pt x="483" y="627"/>
                    <a:pt x="483" y="627"/>
                  </a:cubicBezTo>
                  <a:cubicBezTo>
                    <a:pt x="478" y="627"/>
                    <a:pt x="473" y="623"/>
                    <a:pt x="473" y="617"/>
                  </a:cubicBezTo>
                  <a:cubicBezTo>
                    <a:pt x="473" y="517"/>
                    <a:pt x="473" y="517"/>
                    <a:pt x="473" y="517"/>
                  </a:cubicBezTo>
                  <a:cubicBezTo>
                    <a:pt x="473" y="511"/>
                    <a:pt x="478" y="507"/>
                    <a:pt x="483" y="507"/>
                  </a:cubicBezTo>
                  <a:cubicBezTo>
                    <a:pt x="583" y="507"/>
                    <a:pt x="583" y="507"/>
                    <a:pt x="583" y="507"/>
                  </a:cubicBezTo>
                  <a:cubicBezTo>
                    <a:pt x="589" y="507"/>
                    <a:pt x="593" y="511"/>
                    <a:pt x="593" y="517"/>
                  </a:cubicBezTo>
                  <a:lnTo>
                    <a:pt x="593" y="617"/>
                  </a:lnTo>
                  <a:close/>
                  <a:moveTo>
                    <a:pt x="593" y="429"/>
                  </a:moveTo>
                  <a:cubicBezTo>
                    <a:pt x="593" y="434"/>
                    <a:pt x="589" y="439"/>
                    <a:pt x="583" y="439"/>
                  </a:cubicBezTo>
                  <a:cubicBezTo>
                    <a:pt x="483" y="439"/>
                    <a:pt x="483" y="439"/>
                    <a:pt x="483" y="439"/>
                  </a:cubicBezTo>
                  <a:cubicBezTo>
                    <a:pt x="478" y="439"/>
                    <a:pt x="473" y="434"/>
                    <a:pt x="473" y="429"/>
                  </a:cubicBezTo>
                  <a:cubicBezTo>
                    <a:pt x="473" y="329"/>
                    <a:pt x="473" y="329"/>
                    <a:pt x="473" y="329"/>
                  </a:cubicBezTo>
                  <a:cubicBezTo>
                    <a:pt x="473" y="323"/>
                    <a:pt x="478" y="319"/>
                    <a:pt x="483" y="319"/>
                  </a:cubicBezTo>
                  <a:cubicBezTo>
                    <a:pt x="583" y="319"/>
                    <a:pt x="583" y="319"/>
                    <a:pt x="583" y="319"/>
                  </a:cubicBezTo>
                  <a:cubicBezTo>
                    <a:pt x="589" y="319"/>
                    <a:pt x="593" y="323"/>
                    <a:pt x="593" y="329"/>
                  </a:cubicBezTo>
                  <a:lnTo>
                    <a:pt x="593" y="429"/>
                  </a:lnTo>
                  <a:close/>
                  <a:moveTo>
                    <a:pt x="780" y="617"/>
                  </a:moveTo>
                  <a:cubicBezTo>
                    <a:pt x="780" y="623"/>
                    <a:pt x="776" y="627"/>
                    <a:pt x="770" y="627"/>
                  </a:cubicBezTo>
                  <a:cubicBezTo>
                    <a:pt x="670" y="627"/>
                    <a:pt x="670" y="627"/>
                    <a:pt x="670" y="627"/>
                  </a:cubicBezTo>
                  <a:cubicBezTo>
                    <a:pt x="665" y="627"/>
                    <a:pt x="660" y="623"/>
                    <a:pt x="660" y="617"/>
                  </a:cubicBezTo>
                  <a:cubicBezTo>
                    <a:pt x="660" y="517"/>
                    <a:pt x="660" y="517"/>
                    <a:pt x="660" y="517"/>
                  </a:cubicBezTo>
                  <a:cubicBezTo>
                    <a:pt x="660" y="511"/>
                    <a:pt x="665" y="507"/>
                    <a:pt x="670" y="507"/>
                  </a:cubicBezTo>
                  <a:cubicBezTo>
                    <a:pt x="770" y="507"/>
                    <a:pt x="770" y="507"/>
                    <a:pt x="770" y="507"/>
                  </a:cubicBezTo>
                  <a:cubicBezTo>
                    <a:pt x="776" y="507"/>
                    <a:pt x="780" y="511"/>
                    <a:pt x="780" y="517"/>
                  </a:cubicBezTo>
                  <a:lnTo>
                    <a:pt x="780" y="617"/>
                  </a:lnTo>
                  <a:close/>
                  <a:moveTo>
                    <a:pt x="780" y="429"/>
                  </a:moveTo>
                  <a:cubicBezTo>
                    <a:pt x="780" y="434"/>
                    <a:pt x="776" y="439"/>
                    <a:pt x="770" y="439"/>
                  </a:cubicBezTo>
                  <a:cubicBezTo>
                    <a:pt x="670" y="439"/>
                    <a:pt x="670" y="439"/>
                    <a:pt x="670" y="439"/>
                  </a:cubicBezTo>
                  <a:cubicBezTo>
                    <a:pt x="665" y="439"/>
                    <a:pt x="660" y="434"/>
                    <a:pt x="660" y="429"/>
                  </a:cubicBezTo>
                  <a:cubicBezTo>
                    <a:pt x="660" y="329"/>
                    <a:pt x="660" y="329"/>
                    <a:pt x="660" y="329"/>
                  </a:cubicBezTo>
                  <a:cubicBezTo>
                    <a:pt x="660" y="323"/>
                    <a:pt x="665" y="319"/>
                    <a:pt x="670" y="319"/>
                  </a:cubicBezTo>
                  <a:cubicBezTo>
                    <a:pt x="770" y="319"/>
                    <a:pt x="770" y="319"/>
                    <a:pt x="770" y="319"/>
                  </a:cubicBezTo>
                  <a:cubicBezTo>
                    <a:pt x="776" y="319"/>
                    <a:pt x="780" y="323"/>
                    <a:pt x="780" y="329"/>
                  </a:cubicBezTo>
                  <a:lnTo>
                    <a:pt x="780" y="429"/>
                  </a:lnTo>
                  <a:close/>
                </a:path>
              </a:pathLst>
            </a:custGeom>
            <a:solidFill>
              <a:schemeClr val="bg1"/>
            </a:solidFill>
            <a:ln w="9525" cap="flat" cmpd="sng" algn="ctr">
              <a:solidFill>
                <a:schemeClr val="bg1"/>
              </a:solidFill>
              <a:prstDash val="solid"/>
              <a:round/>
              <a:headEnd type="none" w="med" len="med"/>
              <a:tailEnd type="none" w="med" len="med"/>
            </a:ln>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21395324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2579230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4459" name="think-cell Slide" r:id="rId4" imgW="410" imgH="409" progId="TCLayout.ActiveDocument.1">
                  <p:embed/>
                </p:oleObj>
              </mc:Choice>
              <mc:Fallback>
                <p:oleObj name="think-cell Slide" r:id="rId4" imgW="410" imgH="409"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smtClean="0"/>
              <a:t>Clustering</a:t>
            </a:r>
            <a:endParaRPr lang="en-US" dirty="0"/>
          </a:p>
        </p:txBody>
      </p:sp>
      <p:sp>
        <p:nvSpPr>
          <p:cNvPr id="5" name="TextBox 4"/>
          <p:cNvSpPr txBox="1"/>
          <p:nvPr/>
        </p:nvSpPr>
        <p:spPr>
          <a:xfrm>
            <a:off x="4404167" y="1996633"/>
            <a:ext cx="6458464" cy="347819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indent="-285750">
              <a:buFont typeface="Arial" panose="020B0604020202020204" pitchFamily="34" charset="0"/>
              <a:buChar char="•"/>
            </a:pPr>
            <a:r>
              <a:rPr lang="en-US" dirty="0" smtClean="0">
                <a:solidFill>
                  <a:srgbClr val="575757"/>
                </a:solidFill>
              </a:rPr>
              <a:t>Gathere</a:t>
            </a:r>
            <a:r>
              <a:rPr lang="en-US" dirty="0" smtClean="0">
                <a:solidFill>
                  <a:srgbClr val="575757"/>
                </a:solidFill>
              </a:rPr>
              <a:t>d major tournament match statistics from UCI</a:t>
            </a:r>
            <a:endParaRPr lang="en-US" dirty="0" smtClean="0">
              <a:solidFill>
                <a:srgbClr val="575757"/>
              </a:solidFill>
            </a:endParaRPr>
          </a:p>
          <a:p>
            <a:pPr marL="285750" indent="-285750">
              <a:buFont typeface="Arial" panose="020B0604020202020204" pitchFamily="34" charset="0"/>
              <a:buChar char="•"/>
            </a:pPr>
            <a:r>
              <a:rPr lang="en-US" dirty="0" smtClean="0">
                <a:solidFill>
                  <a:srgbClr val="575757"/>
                </a:solidFill>
              </a:rPr>
              <a:t>Designed Alteryx workflow to clean up data and organize match statistics by player</a:t>
            </a:r>
            <a:endParaRPr lang="en-US" dirty="0" smtClean="0">
              <a:solidFill>
                <a:srgbClr val="575757"/>
              </a:solidFill>
            </a:endParaRPr>
          </a:p>
          <a:p>
            <a:pPr marL="285750" indent="-285750">
              <a:buFont typeface="Arial" panose="020B0604020202020204" pitchFamily="34" charset="0"/>
              <a:buChar char="•"/>
            </a:pPr>
            <a:r>
              <a:rPr lang="en-US" dirty="0" smtClean="0">
                <a:solidFill>
                  <a:srgbClr val="575757"/>
                </a:solidFill>
              </a:rPr>
              <a:t>Utilized python tool within Alteryx to determine clusters</a:t>
            </a:r>
            <a:endParaRPr lang="en-US" dirty="0" smtClean="0">
              <a:solidFill>
                <a:srgbClr val="575757"/>
              </a:solidFill>
            </a:endParaRPr>
          </a:p>
          <a:p>
            <a:pPr marL="285750" indent="-285750">
              <a:buFont typeface="Arial" panose="020B0604020202020204" pitchFamily="34" charset="0"/>
              <a:buChar char="•"/>
            </a:pPr>
            <a:r>
              <a:rPr lang="en-US" dirty="0" smtClean="0">
                <a:solidFill>
                  <a:srgbClr val="575757"/>
                </a:solidFill>
              </a:rPr>
              <a:t>Summarized data uploaded to Tableau server</a:t>
            </a:r>
            <a:endParaRPr lang="en-US" dirty="0" smtClean="0">
              <a:solidFill>
                <a:srgbClr val="575757"/>
              </a:solidFill>
            </a:endParaRPr>
          </a:p>
          <a:p>
            <a:pPr marL="285750" indent="-285750">
              <a:buFont typeface="Arial" panose="020B0604020202020204" pitchFamily="34" charset="0"/>
              <a:buChar char="•"/>
            </a:pPr>
            <a:endParaRPr lang="en-US" dirty="0" smtClean="0">
              <a:solidFill>
                <a:srgbClr val="575757"/>
              </a:solidFill>
            </a:endParaRPr>
          </a:p>
          <a:p>
            <a:pPr marL="285750" indent="-285750">
              <a:buFont typeface="Arial" panose="020B0604020202020204" pitchFamily="34" charset="0"/>
              <a:buChar char="•"/>
            </a:pPr>
            <a:endParaRPr lang="en-US" dirty="0" smtClean="0">
              <a:solidFill>
                <a:srgbClr val="575757"/>
              </a:solidFill>
            </a:endParaRPr>
          </a:p>
          <a:p>
            <a:pPr algn="ctr"/>
            <a:endParaRPr lang="en-US" dirty="0">
              <a:solidFill>
                <a:srgbClr val="575757"/>
              </a:solidFill>
            </a:endParaRPr>
          </a:p>
        </p:txBody>
      </p:sp>
      <p:grpSp>
        <p:nvGrpSpPr>
          <p:cNvPr id="6" name="Group 5"/>
          <p:cNvGrpSpPr>
            <a:grpSpLocks noChangeAspect="1"/>
          </p:cNvGrpSpPr>
          <p:nvPr/>
        </p:nvGrpSpPr>
        <p:grpSpPr>
          <a:xfrm>
            <a:off x="643797" y="3828587"/>
            <a:ext cx="1646238" cy="1646238"/>
            <a:chOff x="5273675" y="2606675"/>
            <a:chExt cx="1646238" cy="1646238"/>
          </a:xfrm>
        </p:grpSpPr>
        <p:sp>
          <p:nvSpPr>
            <p:cNvPr id="7" name="AutoShape 3"/>
            <p:cNvSpPr>
              <a:spLocks noChangeAspect="1" noChangeArrowheads="1" noTextEdit="1"/>
            </p:cNvSpPr>
            <p:nvPr/>
          </p:nvSpPr>
          <p:spPr bwMode="auto">
            <a:xfrm>
              <a:off x="5273675" y="2606675"/>
              <a:ext cx="1646238" cy="1646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 name="Freeform 7"/>
            <p:cNvSpPr>
              <a:spLocks/>
            </p:cNvSpPr>
            <p:nvPr/>
          </p:nvSpPr>
          <p:spPr bwMode="auto">
            <a:xfrm>
              <a:off x="5484812" y="2757488"/>
              <a:ext cx="1223964" cy="1343025"/>
            </a:xfrm>
            <a:custGeom>
              <a:avLst/>
              <a:gdLst>
                <a:gd name="connsiteX0" fmla="*/ 618053 w 1223964"/>
                <a:gd name="connsiteY0" fmla="*/ 1036637 h 1343025"/>
                <a:gd name="connsiteX1" fmla="*/ 521578 w 1223964"/>
                <a:gd name="connsiteY1" fmla="*/ 1050892 h 1343025"/>
                <a:gd name="connsiteX2" fmla="*/ 536585 w 1223964"/>
                <a:gd name="connsiteY2" fmla="*/ 1081541 h 1343025"/>
                <a:gd name="connsiteX3" fmla="*/ 537300 w 1223964"/>
                <a:gd name="connsiteY3" fmla="*/ 1082253 h 1343025"/>
                <a:gd name="connsiteX4" fmla="*/ 540159 w 1223964"/>
                <a:gd name="connsiteY4" fmla="*/ 1082253 h 1343025"/>
                <a:gd name="connsiteX5" fmla="*/ 536585 w 1223964"/>
                <a:gd name="connsiteY5" fmla="*/ 1107200 h 1343025"/>
                <a:gd name="connsiteX6" fmla="*/ 533012 w 1223964"/>
                <a:gd name="connsiteY6" fmla="*/ 1120742 h 1343025"/>
                <a:gd name="connsiteX7" fmla="*/ 530868 w 1223964"/>
                <a:gd name="connsiteY7" fmla="*/ 1130008 h 1343025"/>
                <a:gd name="connsiteX8" fmla="*/ 522293 w 1223964"/>
                <a:gd name="connsiteY8" fmla="*/ 1147827 h 1343025"/>
                <a:gd name="connsiteX9" fmla="*/ 520149 w 1223964"/>
                <a:gd name="connsiteY9" fmla="*/ 1149965 h 1343025"/>
                <a:gd name="connsiteX10" fmla="*/ 510144 w 1223964"/>
                <a:gd name="connsiteY10" fmla="*/ 1169210 h 1343025"/>
                <a:gd name="connsiteX11" fmla="*/ 532298 w 1223964"/>
                <a:gd name="connsiteY11" fmla="*/ 1181326 h 1343025"/>
                <a:gd name="connsiteX12" fmla="*/ 530868 w 1223964"/>
                <a:gd name="connsiteY12" fmla="*/ 1210549 h 1343025"/>
                <a:gd name="connsiteX13" fmla="*/ 530868 w 1223964"/>
                <a:gd name="connsiteY13" fmla="*/ 1211975 h 1343025"/>
                <a:gd name="connsiteX14" fmla="*/ 538015 w 1223964"/>
                <a:gd name="connsiteY14" fmla="*/ 1236209 h 1343025"/>
                <a:gd name="connsiteX15" fmla="*/ 581607 w 1223964"/>
                <a:gd name="connsiteY15" fmla="*/ 1239060 h 1343025"/>
                <a:gd name="connsiteX16" fmla="*/ 581607 w 1223964"/>
                <a:gd name="connsiteY16" fmla="*/ 1276123 h 1343025"/>
                <a:gd name="connsiteX17" fmla="*/ 587324 w 1223964"/>
                <a:gd name="connsiteY17" fmla="*/ 1281112 h 1343025"/>
                <a:gd name="connsiteX18" fmla="*/ 672365 w 1223964"/>
                <a:gd name="connsiteY18" fmla="*/ 1266144 h 1343025"/>
                <a:gd name="connsiteX19" fmla="*/ 675938 w 1223964"/>
                <a:gd name="connsiteY19" fmla="*/ 1261155 h 1343025"/>
                <a:gd name="connsiteX20" fmla="*/ 675938 w 1223964"/>
                <a:gd name="connsiteY20" fmla="*/ 1207698 h 1343025"/>
                <a:gd name="connsiteX21" fmla="*/ 708097 w 1223964"/>
                <a:gd name="connsiteY21" fmla="*/ 1093658 h 1343025"/>
                <a:gd name="connsiteX22" fmla="*/ 618053 w 1223964"/>
                <a:gd name="connsiteY22" fmla="*/ 1036637 h 1343025"/>
                <a:gd name="connsiteX23" fmla="*/ 186512 w 1223964"/>
                <a:gd name="connsiteY23" fmla="*/ 796925 h 1343025"/>
                <a:gd name="connsiteX24" fmla="*/ 94480 w 1223964"/>
                <a:gd name="connsiteY24" fmla="*/ 850468 h 1343025"/>
                <a:gd name="connsiteX25" fmla="*/ 142993 w 1223964"/>
                <a:gd name="connsiteY25" fmla="*/ 992535 h 1343025"/>
                <a:gd name="connsiteX26" fmla="*/ 144420 w 1223964"/>
                <a:gd name="connsiteY26" fmla="*/ 1018950 h 1343025"/>
                <a:gd name="connsiteX27" fmla="*/ 146560 w 1223964"/>
                <a:gd name="connsiteY27" fmla="*/ 1023233 h 1343025"/>
                <a:gd name="connsiteX28" fmla="*/ 206488 w 1223964"/>
                <a:gd name="connsiteY28" fmla="*/ 1038225 h 1343025"/>
                <a:gd name="connsiteX29" fmla="*/ 212196 w 1223964"/>
                <a:gd name="connsiteY29" fmla="*/ 1037511 h 1343025"/>
                <a:gd name="connsiteX30" fmla="*/ 216476 w 1223964"/>
                <a:gd name="connsiteY30" fmla="*/ 1032514 h 1343025"/>
                <a:gd name="connsiteX31" fmla="*/ 216476 w 1223964"/>
                <a:gd name="connsiteY31" fmla="*/ 991821 h 1343025"/>
                <a:gd name="connsiteX32" fmla="*/ 232885 w 1223964"/>
                <a:gd name="connsiteY32" fmla="*/ 992535 h 1343025"/>
                <a:gd name="connsiteX33" fmla="*/ 262850 w 1223964"/>
                <a:gd name="connsiteY33" fmla="*/ 987538 h 1343025"/>
                <a:gd name="connsiteX34" fmla="*/ 267844 w 1223964"/>
                <a:gd name="connsiteY34" fmla="*/ 956126 h 1343025"/>
                <a:gd name="connsiteX35" fmla="*/ 267844 w 1223964"/>
                <a:gd name="connsiteY35" fmla="*/ 939706 h 1343025"/>
                <a:gd name="connsiteX36" fmla="*/ 289960 w 1223964"/>
                <a:gd name="connsiteY36" fmla="*/ 928998 h 1343025"/>
                <a:gd name="connsiteX37" fmla="*/ 280685 w 1223964"/>
                <a:gd name="connsiteY37" fmla="*/ 909008 h 1343025"/>
                <a:gd name="connsiteX38" fmla="*/ 270697 w 1223964"/>
                <a:gd name="connsiteY38" fmla="*/ 892588 h 1343025"/>
                <a:gd name="connsiteX39" fmla="*/ 269270 w 1223964"/>
                <a:gd name="connsiteY39" fmla="*/ 869743 h 1343025"/>
                <a:gd name="connsiteX40" fmla="*/ 261423 w 1223964"/>
                <a:gd name="connsiteY40" fmla="*/ 841901 h 1343025"/>
                <a:gd name="connsiteX41" fmla="*/ 264990 w 1223964"/>
                <a:gd name="connsiteY41" fmla="*/ 835476 h 1343025"/>
                <a:gd name="connsiteX42" fmla="*/ 186512 w 1223964"/>
                <a:gd name="connsiteY42" fmla="*/ 796925 h 1343025"/>
                <a:gd name="connsiteX43" fmla="*/ 1044739 w 1223964"/>
                <a:gd name="connsiteY43" fmla="*/ 793751 h 1343025"/>
                <a:gd name="connsiteX44" fmla="*/ 949285 w 1223964"/>
                <a:gd name="connsiteY44" fmla="*/ 807342 h 1343025"/>
                <a:gd name="connsiteX45" fmla="*/ 963532 w 1223964"/>
                <a:gd name="connsiteY45" fmla="*/ 839530 h 1343025"/>
                <a:gd name="connsiteX46" fmla="*/ 964244 w 1223964"/>
                <a:gd name="connsiteY46" fmla="*/ 840246 h 1343025"/>
                <a:gd name="connsiteX47" fmla="*/ 967094 w 1223964"/>
                <a:gd name="connsiteY47" fmla="*/ 839530 h 1343025"/>
                <a:gd name="connsiteX48" fmla="*/ 964244 w 1223964"/>
                <a:gd name="connsiteY48" fmla="*/ 865281 h 1343025"/>
                <a:gd name="connsiteX49" fmla="*/ 960682 w 1223964"/>
                <a:gd name="connsiteY49" fmla="*/ 878872 h 1343025"/>
                <a:gd name="connsiteX50" fmla="*/ 958545 w 1223964"/>
                <a:gd name="connsiteY50" fmla="*/ 888171 h 1343025"/>
                <a:gd name="connsiteX51" fmla="*/ 949285 w 1223964"/>
                <a:gd name="connsiteY51" fmla="*/ 906053 h 1343025"/>
                <a:gd name="connsiteX52" fmla="*/ 947860 w 1223964"/>
                <a:gd name="connsiteY52" fmla="*/ 908199 h 1343025"/>
                <a:gd name="connsiteX53" fmla="*/ 937175 w 1223964"/>
                <a:gd name="connsiteY53" fmla="*/ 927512 h 1343025"/>
                <a:gd name="connsiteX54" fmla="*/ 959258 w 1223964"/>
                <a:gd name="connsiteY54" fmla="*/ 939672 h 1343025"/>
                <a:gd name="connsiteX55" fmla="*/ 957833 w 1223964"/>
                <a:gd name="connsiteY55" fmla="*/ 968999 h 1343025"/>
                <a:gd name="connsiteX56" fmla="*/ 957833 w 1223964"/>
                <a:gd name="connsiteY56" fmla="*/ 970430 h 1343025"/>
                <a:gd name="connsiteX57" fmla="*/ 964957 w 1223964"/>
                <a:gd name="connsiteY57" fmla="*/ 994750 h 1343025"/>
                <a:gd name="connsiteX58" fmla="*/ 1009122 w 1223964"/>
                <a:gd name="connsiteY58" fmla="*/ 996896 h 1343025"/>
                <a:gd name="connsiteX59" fmla="*/ 1009122 w 1223964"/>
                <a:gd name="connsiteY59" fmla="*/ 1034807 h 1343025"/>
                <a:gd name="connsiteX60" fmla="*/ 1014108 w 1223964"/>
                <a:gd name="connsiteY60" fmla="*/ 1039814 h 1343025"/>
                <a:gd name="connsiteX61" fmla="*/ 1099589 w 1223964"/>
                <a:gd name="connsiteY61" fmla="*/ 1024793 h 1343025"/>
                <a:gd name="connsiteX62" fmla="*/ 1103150 w 1223964"/>
                <a:gd name="connsiteY62" fmla="*/ 1019786 h 1343025"/>
                <a:gd name="connsiteX63" fmla="*/ 1103150 w 1223964"/>
                <a:gd name="connsiteY63" fmla="*/ 965423 h 1343025"/>
                <a:gd name="connsiteX64" fmla="*/ 1134493 w 1223964"/>
                <a:gd name="connsiteY64" fmla="*/ 851690 h 1343025"/>
                <a:gd name="connsiteX65" fmla="*/ 1044739 w 1223964"/>
                <a:gd name="connsiteY65" fmla="*/ 793751 h 1343025"/>
                <a:gd name="connsiteX66" fmla="*/ 555302 w 1223964"/>
                <a:gd name="connsiteY66" fmla="*/ 748985 h 1343025"/>
                <a:gd name="connsiteX67" fmla="*/ 566995 w 1223964"/>
                <a:gd name="connsiteY67" fmla="*/ 750414 h 1343025"/>
                <a:gd name="connsiteX68" fmla="*/ 611981 w 1223964"/>
                <a:gd name="connsiteY68" fmla="*/ 761852 h 1343025"/>
                <a:gd name="connsiteX69" fmla="*/ 627691 w 1223964"/>
                <a:gd name="connsiteY69" fmla="*/ 777579 h 1343025"/>
                <a:gd name="connsiteX70" fmla="*/ 627691 w 1223964"/>
                <a:gd name="connsiteY70" fmla="*/ 974162 h 1343025"/>
                <a:gd name="connsiteX71" fmla="*/ 796925 w 1223964"/>
                <a:gd name="connsiteY71" fmla="*/ 1158594 h 1343025"/>
                <a:gd name="connsiteX72" fmla="*/ 611981 w 1223964"/>
                <a:gd name="connsiteY72" fmla="*/ 1343025 h 1343025"/>
                <a:gd name="connsiteX73" fmla="*/ 427037 w 1223964"/>
                <a:gd name="connsiteY73" fmla="*/ 1158594 h 1343025"/>
                <a:gd name="connsiteX74" fmla="*/ 596272 w 1223964"/>
                <a:gd name="connsiteY74" fmla="*/ 974162 h 1343025"/>
                <a:gd name="connsiteX75" fmla="*/ 596272 w 1223964"/>
                <a:gd name="connsiteY75" fmla="*/ 792590 h 1343025"/>
                <a:gd name="connsiteX76" fmla="*/ 551999 w 1223964"/>
                <a:gd name="connsiteY76" fmla="*/ 777579 h 1343025"/>
                <a:gd name="connsiteX77" fmla="*/ 546287 w 1223964"/>
                <a:gd name="connsiteY77" fmla="*/ 756133 h 1343025"/>
                <a:gd name="connsiteX78" fmla="*/ 555302 w 1223964"/>
                <a:gd name="connsiteY78" fmla="*/ 748985 h 1343025"/>
                <a:gd name="connsiteX79" fmla="*/ 700807 w 1223964"/>
                <a:gd name="connsiteY79" fmla="*/ 709287 h 1343025"/>
                <a:gd name="connsiteX80" fmla="*/ 712330 w 1223964"/>
                <a:gd name="connsiteY80" fmla="*/ 710712 h 1343025"/>
                <a:gd name="connsiteX81" fmla="*/ 888115 w 1223964"/>
                <a:gd name="connsiteY81" fmla="*/ 811848 h 1343025"/>
                <a:gd name="connsiteX82" fmla="*/ 1040319 w 1223964"/>
                <a:gd name="connsiteY82" fmla="*/ 732791 h 1343025"/>
                <a:gd name="connsiteX83" fmla="*/ 1223964 w 1223964"/>
                <a:gd name="connsiteY83" fmla="*/ 917258 h 1343025"/>
                <a:gd name="connsiteX84" fmla="*/ 1040319 w 1223964"/>
                <a:gd name="connsiteY84" fmla="*/ 1101726 h 1343025"/>
                <a:gd name="connsiteX85" fmla="*/ 855244 w 1223964"/>
                <a:gd name="connsiteY85" fmla="*/ 917258 h 1343025"/>
                <a:gd name="connsiteX86" fmla="*/ 872394 w 1223964"/>
                <a:gd name="connsiteY86" fmla="*/ 839625 h 1343025"/>
                <a:gd name="connsiteX87" fmla="*/ 709471 w 1223964"/>
                <a:gd name="connsiteY87" fmla="*/ 745611 h 1343025"/>
                <a:gd name="connsiteX88" fmla="*/ 677315 w 1223964"/>
                <a:gd name="connsiteY88" fmla="*/ 774812 h 1343025"/>
                <a:gd name="connsiteX89" fmla="*/ 655878 w 1223964"/>
                <a:gd name="connsiteY89" fmla="*/ 769827 h 1343025"/>
                <a:gd name="connsiteX90" fmla="*/ 660880 w 1223964"/>
                <a:gd name="connsiteY90" fmla="*/ 748460 h 1343025"/>
                <a:gd name="connsiteX91" fmla="*/ 690892 w 1223964"/>
                <a:gd name="connsiteY91" fmla="*/ 717122 h 1343025"/>
                <a:gd name="connsiteX92" fmla="*/ 690892 w 1223964"/>
                <a:gd name="connsiteY92" fmla="*/ 716409 h 1343025"/>
                <a:gd name="connsiteX93" fmla="*/ 700807 w 1223964"/>
                <a:gd name="connsiteY93" fmla="*/ 709287 h 1343025"/>
                <a:gd name="connsiteX94" fmla="*/ 505180 w 1223964"/>
                <a:gd name="connsiteY94" fmla="*/ 655637 h 1343025"/>
                <a:gd name="connsiteX95" fmla="*/ 520878 w 1223964"/>
                <a:gd name="connsiteY95" fmla="*/ 671314 h 1343025"/>
                <a:gd name="connsiteX96" fmla="*/ 532294 w 1223964"/>
                <a:gd name="connsiteY96" fmla="*/ 716208 h 1343025"/>
                <a:gd name="connsiteX97" fmla="*/ 533721 w 1223964"/>
                <a:gd name="connsiteY97" fmla="*/ 719059 h 1343025"/>
                <a:gd name="connsiteX98" fmla="*/ 527299 w 1223964"/>
                <a:gd name="connsiteY98" fmla="*/ 738299 h 1343025"/>
                <a:gd name="connsiteX99" fmla="*/ 351771 w 1223964"/>
                <a:gd name="connsiteY99" fmla="*/ 839488 h 1343025"/>
                <a:gd name="connsiteX100" fmla="*/ 368896 w 1223964"/>
                <a:gd name="connsiteY100" fmla="*/ 917162 h 1343025"/>
                <a:gd name="connsiteX101" fmla="*/ 184091 w 1223964"/>
                <a:gd name="connsiteY101" fmla="*/ 1101725 h 1343025"/>
                <a:gd name="connsiteX102" fmla="*/ 0 w 1223964"/>
                <a:gd name="connsiteY102" fmla="*/ 917162 h 1343025"/>
                <a:gd name="connsiteX103" fmla="*/ 184091 w 1223964"/>
                <a:gd name="connsiteY103" fmla="*/ 732598 h 1343025"/>
                <a:gd name="connsiteX104" fmla="*/ 336073 w 1223964"/>
                <a:gd name="connsiteY104" fmla="*/ 811697 h 1343025"/>
                <a:gd name="connsiteX105" fmla="*/ 498758 w 1223964"/>
                <a:gd name="connsiteY105" fmla="*/ 718346 h 1343025"/>
                <a:gd name="connsiteX106" fmla="*/ 489482 w 1223964"/>
                <a:gd name="connsiteY106" fmla="*/ 671314 h 1343025"/>
                <a:gd name="connsiteX107" fmla="*/ 505180 w 1223964"/>
                <a:gd name="connsiteY107" fmla="*/ 655637 h 1343025"/>
                <a:gd name="connsiteX108" fmla="*/ 611982 w 1223964"/>
                <a:gd name="connsiteY108" fmla="*/ 623887 h 1343025"/>
                <a:gd name="connsiteX109" fmla="*/ 658814 w 1223964"/>
                <a:gd name="connsiteY109" fmla="*/ 671512 h 1343025"/>
                <a:gd name="connsiteX110" fmla="*/ 611982 w 1223964"/>
                <a:gd name="connsiteY110" fmla="*/ 719137 h 1343025"/>
                <a:gd name="connsiteX111" fmla="*/ 565150 w 1223964"/>
                <a:gd name="connsiteY111" fmla="*/ 671512 h 1343025"/>
                <a:gd name="connsiteX112" fmla="*/ 611982 w 1223964"/>
                <a:gd name="connsiteY112" fmla="*/ 623887 h 1343025"/>
                <a:gd name="connsiteX113" fmla="*/ 1037450 w 1223964"/>
                <a:gd name="connsiteY113" fmla="*/ 304800 h 1343025"/>
                <a:gd name="connsiteX114" fmla="*/ 958973 w 1223964"/>
                <a:gd name="connsiteY114" fmla="*/ 342749 h 1343025"/>
                <a:gd name="connsiteX115" fmla="*/ 962540 w 1223964"/>
                <a:gd name="connsiteY115" fmla="*/ 349194 h 1343025"/>
                <a:gd name="connsiteX116" fmla="*/ 954692 w 1223964"/>
                <a:gd name="connsiteY116" fmla="*/ 377119 h 1343025"/>
                <a:gd name="connsiteX117" fmla="*/ 953265 w 1223964"/>
                <a:gd name="connsiteY117" fmla="*/ 400747 h 1343025"/>
                <a:gd name="connsiteX118" fmla="*/ 943277 w 1223964"/>
                <a:gd name="connsiteY118" fmla="*/ 416500 h 1343025"/>
                <a:gd name="connsiteX119" fmla="*/ 934003 w 1223964"/>
                <a:gd name="connsiteY119" fmla="*/ 436549 h 1343025"/>
                <a:gd name="connsiteX120" fmla="*/ 956119 w 1223964"/>
                <a:gd name="connsiteY120" fmla="*/ 448005 h 1343025"/>
                <a:gd name="connsiteX121" fmla="*/ 956119 w 1223964"/>
                <a:gd name="connsiteY121" fmla="*/ 464473 h 1343025"/>
                <a:gd name="connsiteX122" fmla="*/ 961113 w 1223964"/>
                <a:gd name="connsiteY122" fmla="*/ 495262 h 1343025"/>
                <a:gd name="connsiteX123" fmla="*/ 991077 w 1223964"/>
                <a:gd name="connsiteY123" fmla="*/ 500991 h 1343025"/>
                <a:gd name="connsiteX124" fmla="*/ 1007486 w 1223964"/>
                <a:gd name="connsiteY124" fmla="*/ 500275 h 1343025"/>
                <a:gd name="connsiteX125" fmla="*/ 1007486 w 1223964"/>
                <a:gd name="connsiteY125" fmla="*/ 540372 h 1343025"/>
                <a:gd name="connsiteX126" fmla="*/ 1011767 w 1223964"/>
                <a:gd name="connsiteY126" fmla="*/ 546100 h 1343025"/>
                <a:gd name="connsiteX127" fmla="*/ 1017474 w 1223964"/>
                <a:gd name="connsiteY127" fmla="*/ 546100 h 1343025"/>
                <a:gd name="connsiteX128" fmla="*/ 1077402 w 1223964"/>
                <a:gd name="connsiteY128" fmla="*/ 531780 h 1343025"/>
                <a:gd name="connsiteX129" fmla="*/ 1079543 w 1223964"/>
                <a:gd name="connsiteY129" fmla="*/ 527484 h 1343025"/>
                <a:gd name="connsiteX130" fmla="*/ 1080969 w 1223964"/>
                <a:gd name="connsiteY130" fmla="*/ 500275 h 1343025"/>
                <a:gd name="connsiteX131" fmla="*/ 1129483 w 1223964"/>
                <a:gd name="connsiteY131" fmla="*/ 358502 h 1343025"/>
                <a:gd name="connsiteX132" fmla="*/ 1037450 w 1223964"/>
                <a:gd name="connsiteY132" fmla="*/ 304800 h 1343025"/>
                <a:gd name="connsiteX133" fmla="*/ 179226 w 1223964"/>
                <a:gd name="connsiteY133" fmla="*/ 303212 h 1343025"/>
                <a:gd name="connsiteX134" fmla="*/ 89471 w 1223964"/>
                <a:gd name="connsiteY134" fmla="*/ 360233 h 1343025"/>
                <a:gd name="connsiteX135" fmla="*/ 120814 w 1223964"/>
                <a:gd name="connsiteY135" fmla="*/ 474273 h 1343025"/>
                <a:gd name="connsiteX136" fmla="*/ 120814 w 1223964"/>
                <a:gd name="connsiteY136" fmla="*/ 527730 h 1343025"/>
                <a:gd name="connsiteX137" fmla="*/ 124376 w 1223964"/>
                <a:gd name="connsiteY137" fmla="*/ 532719 h 1343025"/>
                <a:gd name="connsiteX138" fmla="*/ 209857 w 1223964"/>
                <a:gd name="connsiteY138" fmla="*/ 547687 h 1343025"/>
                <a:gd name="connsiteX139" fmla="*/ 214843 w 1223964"/>
                <a:gd name="connsiteY139" fmla="*/ 542698 h 1343025"/>
                <a:gd name="connsiteX140" fmla="*/ 214843 w 1223964"/>
                <a:gd name="connsiteY140" fmla="*/ 505635 h 1343025"/>
                <a:gd name="connsiteX141" fmla="*/ 259008 w 1223964"/>
                <a:gd name="connsiteY141" fmla="*/ 502784 h 1343025"/>
                <a:gd name="connsiteX142" fmla="*/ 266131 w 1223964"/>
                <a:gd name="connsiteY142" fmla="*/ 478550 h 1343025"/>
                <a:gd name="connsiteX143" fmla="*/ 266131 w 1223964"/>
                <a:gd name="connsiteY143" fmla="*/ 477124 h 1343025"/>
                <a:gd name="connsiteX144" fmla="*/ 264707 w 1223964"/>
                <a:gd name="connsiteY144" fmla="*/ 447901 h 1343025"/>
                <a:gd name="connsiteX145" fmla="*/ 286789 w 1223964"/>
                <a:gd name="connsiteY145" fmla="*/ 435785 h 1343025"/>
                <a:gd name="connsiteX146" fmla="*/ 276104 w 1223964"/>
                <a:gd name="connsiteY146" fmla="*/ 416540 h 1343025"/>
                <a:gd name="connsiteX147" fmla="*/ 274679 w 1223964"/>
                <a:gd name="connsiteY147" fmla="*/ 414402 h 1343025"/>
                <a:gd name="connsiteX148" fmla="*/ 265419 w 1223964"/>
                <a:gd name="connsiteY148" fmla="*/ 396583 h 1343025"/>
                <a:gd name="connsiteX149" fmla="*/ 263282 w 1223964"/>
                <a:gd name="connsiteY149" fmla="*/ 387317 h 1343025"/>
                <a:gd name="connsiteX150" fmla="*/ 259720 w 1223964"/>
                <a:gd name="connsiteY150" fmla="*/ 373775 h 1343025"/>
                <a:gd name="connsiteX151" fmla="*/ 256871 w 1223964"/>
                <a:gd name="connsiteY151" fmla="*/ 348828 h 1343025"/>
                <a:gd name="connsiteX152" fmla="*/ 259720 w 1223964"/>
                <a:gd name="connsiteY152" fmla="*/ 348828 h 1343025"/>
                <a:gd name="connsiteX153" fmla="*/ 260433 w 1223964"/>
                <a:gd name="connsiteY153" fmla="*/ 348116 h 1343025"/>
                <a:gd name="connsiteX154" fmla="*/ 274679 w 1223964"/>
                <a:gd name="connsiteY154" fmla="*/ 317467 h 1343025"/>
                <a:gd name="connsiteX155" fmla="*/ 179226 w 1223964"/>
                <a:gd name="connsiteY155" fmla="*/ 303212 h 1343025"/>
                <a:gd name="connsiteX156" fmla="*/ 1040096 w 1223964"/>
                <a:gd name="connsiteY156" fmla="*/ 241300 h 1343025"/>
                <a:gd name="connsiteX157" fmla="*/ 1223962 w 1223964"/>
                <a:gd name="connsiteY157" fmla="*/ 426159 h 1343025"/>
                <a:gd name="connsiteX158" fmla="*/ 1040096 w 1223964"/>
                <a:gd name="connsiteY158" fmla="*/ 610304 h 1343025"/>
                <a:gd name="connsiteX159" fmla="*/ 887709 w 1223964"/>
                <a:gd name="connsiteY159" fmla="*/ 531079 h 1343025"/>
                <a:gd name="connsiteX160" fmla="*/ 724590 w 1223964"/>
                <a:gd name="connsiteY160" fmla="*/ 624579 h 1343025"/>
                <a:gd name="connsiteX161" fmla="*/ 733890 w 1223964"/>
                <a:gd name="connsiteY161" fmla="*/ 671686 h 1343025"/>
                <a:gd name="connsiteX162" fmla="*/ 718151 w 1223964"/>
                <a:gd name="connsiteY162" fmla="*/ 687388 h 1343025"/>
                <a:gd name="connsiteX163" fmla="*/ 702411 w 1223964"/>
                <a:gd name="connsiteY163" fmla="*/ 671686 h 1343025"/>
                <a:gd name="connsiteX164" fmla="*/ 690964 w 1223964"/>
                <a:gd name="connsiteY164" fmla="*/ 626720 h 1343025"/>
                <a:gd name="connsiteX165" fmla="*/ 688818 w 1223964"/>
                <a:gd name="connsiteY165" fmla="*/ 622438 h 1343025"/>
                <a:gd name="connsiteX166" fmla="*/ 695972 w 1223964"/>
                <a:gd name="connsiteY166" fmla="*/ 604594 h 1343025"/>
                <a:gd name="connsiteX167" fmla="*/ 871969 w 1223964"/>
                <a:gd name="connsiteY167" fmla="*/ 503957 h 1343025"/>
                <a:gd name="connsiteX168" fmla="*/ 854799 w 1223964"/>
                <a:gd name="connsiteY168" fmla="*/ 426159 h 1343025"/>
                <a:gd name="connsiteX169" fmla="*/ 1040096 w 1223964"/>
                <a:gd name="connsiteY169" fmla="*/ 241300 h 1343025"/>
                <a:gd name="connsiteX170" fmla="*/ 184285 w 1223964"/>
                <a:gd name="connsiteY170" fmla="*/ 241300 h 1343025"/>
                <a:gd name="connsiteX171" fmla="*/ 369282 w 1223964"/>
                <a:gd name="connsiteY171" fmla="*/ 426361 h 1343025"/>
                <a:gd name="connsiteX172" fmla="*/ 352140 w 1223964"/>
                <a:gd name="connsiteY172" fmla="*/ 504243 h 1343025"/>
                <a:gd name="connsiteX173" fmla="*/ 514995 w 1223964"/>
                <a:gd name="connsiteY173" fmla="*/ 597845 h 1343025"/>
                <a:gd name="connsiteX174" fmla="*/ 552137 w 1223964"/>
                <a:gd name="connsiteY174" fmla="*/ 565692 h 1343025"/>
                <a:gd name="connsiteX175" fmla="*/ 573566 w 1223964"/>
                <a:gd name="connsiteY175" fmla="*/ 571408 h 1343025"/>
                <a:gd name="connsiteX176" fmla="*/ 567137 w 1223964"/>
                <a:gd name="connsiteY176" fmla="*/ 592844 h 1343025"/>
                <a:gd name="connsiteX177" fmla="*/ 533566 w 1223964"/>
                <a:gd name="connsiteY177" fmla="*/ 626426 h 1343025"/>
                <a:gd name="connsiteX178" fmla="*/ 533566 w 1223964"/>
                <a:gd name="connsiteY178" fmla="*/ 627140 h 1343025"/>
                <a:gd name="connsiteX179" fmla="*/ 519995 w 1223964"/>
                <a:gd name="connsiteY179" fmla="*/ 635000 h 1343025"/>
                <a:gd name="connsiteX180" fmla="*/ 512138 w 1223964"/>
                <a:gd name="connsiteY180" fmla="*/ 632857 h 1343025"/>
                <a:gd name="connsiteX181" fmla="*/ 336426 w 1223964"/>
                <a:gd name="connsiteY181" fmla="*/ 531395 h 1343025"/>
                <a:gd name="connsiteX182" fmla="*/ 184285 w 1223964"/>
                <a:gd name="connsiteY182" fmla="*/ 610706 h 1343025"/>
                <a:gd name="connsiteX183" fmla="*/ 1 w 1223964"/>
                <a:gd name="connsiteY183" fmla="*/ 426361 h 1343025"/>
                <a:gd name="connsiteX184" fmla="*/ 184285 w 1223964"/>
                <a:gd name="connsiteY184" fmla="*/ 241300 h 1343025"/>
                <a:gd name="connsiteX185" fmla="*/ 605909 w 1223964"/>
                <a:gd name="connsiteY185" fmla="*/ 61912 h 1343025"/>
                <a:gd name="connsiteX186" fmla="*/ 515866 w 1223964"/>
                <a:gd name="connsiteY186" fmla="*/ 119303 h 1343025"/>
                <a:gd name="connsiteX187" fmla="*/ 548024 w 1223964"/>
                <a:gd name="connsiteY187" fmla="*/ 233367 h 1343025"/>
                <a:gd name="connsiteX188" fmla="*/ 548024 w 1223964"/>
                <a:gd name="connsiteY188" fmla="*/ 287888 h 1343025"/>
                <a:gd name="connsiteX189" fmla="*/ 551597 w 1223964"/>
                <a:gd name="connsiteY189" fmla="*/ 292910 h 1343025"/>
                <a:gd name="connsiteX190" fmla="*/ 636638 w 1223964"/>
                <a:gd name="connsiteY190" fmla="*/ 307975 h 1343025"/>
                <a:gd name="connsiteX191" fmla="*/ 642355 w 1223964"/>
                <a:gd name="connsiteY191" fmla="*/ 302953 h 1343025"/>
                <a:gd name="connsiteX192" fmla="*/ 642355 w 1223964"/>
                <a:gd name="connsiteY192" fmla="*/ 264932 h 1343025"/>
                <a:gd name="connsiteX193" fmla="*/ 685948 w 1223964"/>
                <a:gd name="connsiteY193" fmla="*/ 262780 h 1343025"/>
                <a:gd name="connsiteX194" fmla="*/ 693094 w 1223964"/>
                <a:gd name="connsiteY194" fmla="*/ 238389 h 1343025"/>
                <a:gd name="connsiteX195" fmla="*/ 693094 w 1223964"/>
                <a:gd name="connsiteY195" fmla="*/ 236954 h 1343025"/>
                <a:gd name="connsiteX196" fmla="*/ 691665 w 1223964"/>
                <a:gd name="connsiteY196" fmla="*/ 207541 h 1343025"/>
                <a:gd name="connsiteX197" fmla="*/ 713818 w 1223964"/>
                <a:gd name="connsiteY197" fmla="*/ 195346 h 1343025"/>
                <a:gd name="connsiteX198" fmla="*/ 703814 w 1223964"/>
                <a:gd name="connsiteY198" fmla="*/ 175976 h 1343025"/>
                <a:gd name="connsiteX199" fmla="*/ 701670 w 1223964"/>
                <a:gd name="connsiteY199" fmla="*/ 173824 h 1343025"/>
                <a:gd name="connsiteX200" fmla="*/ 693094 w 1223964"/>
                <a:gd name="connsiteY200" fmla="*/ 155890 h 1343025"/>
                <a:gd name="connsiteX201" fmla="*/ 690950 w 1223964"/>
                <a:gd name="connsiteY201" fmla="*/ 146564 h 1343025"/>
                <a:gd name="connsiteX202" fmla="*/ 687377 w 1223964"/>
                <a:gd name="connsiteY202" fmla="*/ 132933 h 1343025"/>
                <a:gd name="connsiteX203" fmla="*/ 683804 w 1223964"/>
                <a:gd name="connsiteY203" fmla="*/ 107107 h 1343025"/>
                <a:gd name="connsiteX204" fmla="*/ 686662 w 1223964"/>
                <a:gd name="connsiteY204" fmla="*/ 107825 h 1343025"/>
                <a:gd name="connsiteX205" fmla="*/ 687377 w 1223964"/>
                <a:gd name="connsiteY205" fmla="*/ 107107 h 1343025"/>
                <a:gd name="connsiteX206" fmla="*/ 702384 w 1223964"/>
                <a:gd name="connsiteY206" fmla="*/ 75542 h 1343025"/>
                <a:gd name="connsiteX207" fmla="*/ 605909 w 1223964"/>
                <a:gd name="connsiteY207" fmla="*/ 61912 h 1343025"/>
                <a:gd name="connsiteX208" fmla="*/ 611981 w 1223964"/>
                <a:gd name="connsiteY208" fmla="*/ 0 h 1343025"/>
                <a:gd name="connsiteX209" fmla="*/ 796925 w 1223964"/>
                <a:gd name="connsiteY209" fmla="*/ 184235 h 1343025"/>
                <a:gd name="connsiteX210" fmla="*/ 627691 w 1223964"/>
                <a:gd name="connsiteY210" fmla="*/ 368469 h 1343025"/>
                <a:gd name="connsiteX211" fmla="*/ 627691 w 1223964"/>
                <a:gd name="connsiteY211" fmla="*/ 549133 h 1343025"/>
                <a:gd name="connsiteX212" fmla="*/ 666251 w 1223964"/>
                <a:gd name="connsiteY212" fmla="*/ 560558 h 1343025"/>
                <a:gd name="connsiteX213" fmla="*/ 673391 w 1223964"/>
                <a:gd name="connsiteY213" fmla="*/ 581981 h 1343025"/>
                <a:gd name="connsiteX214" fmla="*/ 659110 w 1223964"/>
                <a:gd name="connsiteY214" fmla="*/ 590550 h 1343025"/>
                <a:gd name="connsiteX215" fmla="*/ 651969 w 1223964"/>
                <a:gd name="connsiteY215" fmla="*/ 589122 h 1343025"/>
                <a:gd name="connsiteX216" fmla="*/ 611981 w 1223964"/>
                <a:gd name="connsiteY216" fmla="*/ 579839 h 1343025"/>
                <a:gd name="connsiteX217" fmla="*/ 596272 w 1223964"/>
                <a:gd name="connsiteY217" fmla="*/ 564129 h 1343025"/>
                <a:gd name="connsiteX218" fmla="*/ 596272 w 1223964"/>
                <a:gd name="connsiteY218" fmla="*/ 368469 h 1343025"/>
                <a:gd name="connsiteX219" fmla="*/ 427037 w 1223964"/>
                <a:gd name="connsiteY219" fmla="*/ 184235 h 1343025"/>
                <a:gd name="connsiteX220" fmla="*/ 611981 w 1223964"/>
                <a:gd name="connsiteY220" fmla="*/ 0 h 1343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Lst>
              <a:rect l="l" t="t" r="r" b="b"/>
              <a:pathLst>
                <a:path w="1223964" h="1343025">
                  <a:moveTo>
                    <a:pt x="618053" y="1036637"/>
                  </a:moveTo>
                  <a:cubicBezTo>
                    <a:pt x="559454" y="1036637"/>
                    <a:pt x="576605" y="1051605"/>
                    <a:pt x="521578" y="1050892"/>
                  </a:cubicBezTo>
                  <a:cubicBezTo>
                    <a:pt x="515861" y="1050892"/>
                    <a:pt x="533727" y="1070137"/>
                    <a:pt x="536585" y="1081541"/>
                  </a:cubicBezTo>
                  <a:cubicBezTo>
                    <a:pt x="536585" y="1082253"/>
                    <a:pt x="536585" y="1082253"/>
                    <a:pt x="537300" y="1082253"/>
                  </a:cubicBezTo>
                  <a:cubicBezTo>
                    <a:pt x="537300" y="1082966"/>
                    <a:pt x="538729" y="1081541"/>
                    <a:pt x="540159" y="1082253"/>
                  </a:cubicBezTo>
                  <a:cubicBezTo>
                    <a:pt x="539444" y="1089381"/>
                    <a:pt x="538015" y="1102211"/>
                    <a:pt x="536585" y="1107200"/>
                  </a:cubicBezTo>
                  <a:cubicBezTo>
                    <a:pt x="535156" y="1111476"/>
                    <a:pt x="534442" y="1116466"/>
                    <a:pt x="533012" y="1120742"/>
                  </a:cubicBezTo>
                  <a:cubicBezTo>
                    <a:pt x="532298" y="1124306"/>
                    <a:pt x="531583" y="1127870"/>
                    <a:pt x="530868" y="1130008"/>
                  </a:cubicBezTo>
                  <a:cubicBezTo>
                    <a:pt x="528010" y="1137848"/>
                    <a:pt x="525151" y="1144976"/>
                    <a:pt x="522293" y="1147827"/>
                  </a:cubicBezTo>
                  <a:cubicBezTo>
                    <a:pt x="521578" y="1148540"/>
                    <a:pt x="520864" y="1149252"/>
                    <a:pt x="520149" y="1149965"/>
                  </a:cubicBezTo>
                  <a:cubicBezTo>
                    <a:pt x="513717" y="1156380"/>
                    <a:pt x="508000" y="1162795"/>
                    <a:pt x="510144" y="1169210"/>
                  </a:cubicBezTo>
                  <a:cubicBezTo>
                    <a:pt x="510859" y="1172061"/>
                    <a:pt x="515147" y="1180614"/>
                    <a:pt x="532298" y="1181326"/>
                  </a:cubicBezTo>
                  <a:cubicBezTo>
                    <a:pt x="530868" y="1189167"/>
                    <a:pt x="530154" y="1201996"/>
                    <a:pt x="530868" y="1210549"/>
                  </a:cubicBezTo>
                  <a:cubicBezTo>
                    <a:pt x="530868" y="1210549"/>
                    <a:pt x="530868" y="1210549"/>
                    <a:pt x="530868" y="1211975"/>
                  </a:cubicBezTo>
                  <a:cubicBezTo>
                    <a:pt x="531583" y="1225517"/>
                    <a:pt x="532298" y="1233358"/>
                    <a:pt x="538015" y="1236209"/>
                  </a:cubicBezTo>
                  <a:cubicBezTo>
                    <a:pt x="543017" y="1238347"/>
                    <a:pt x="559454" y="1241198"/>
                    <a:pt x="581607" y="1239060"/>
                  </a:cubicBezTo>
                  <a:cubicBezTo>
                    <a:pt x="581607" y="1239060"/>
                    <a:pt x="581607" y="1239060"/>
                    <a:pt x="581607" y="1276123"/>
                  </a:cubicBezTo>
                  <a:cubicBezTo>
                    <a:pt x="581607" y="1278974"/>
                    <a:pt x="583751" y="1281112"/>
                    <a:pt x="587324" y="1281112"/>
                  </a:cubicBezTo>
                  <a:cubicBezTo>
                    <a:pt x="590897" y="1281112"/>
                    <a:pt x="636634" y="1281112"/>
                    <a:pt x="672365" y="1266144"/>
                  </a:cubicBezTo>
                  <a:cubicBezTo>
                    <a:pt x="674509" y="1265432"/>
                    <a:pt x="675938" y="1263293"/>
                    <a:pt x="675938" y="1261155"/>
                  </a:cubicBezTo>
                  <a:cubicBezTo>
                    <a:pt x="675938" y="1261155"/>
                    <a:pt x="675938" y="1261155"/>
                    <a:pt x="675938" y="1207698"/>
                  </a:cubicBezTo>
                  <a:cubicBezTo>
                    <a:pt x="693804" y="1188454"/>
                    <a:pt x="730250" y="1141412"/>
                    <a:pt x="708097" y="1093658"/>
                  </a:cubicBezTo>
                  <a:cubicBezTo>
                    <a:pt x="695233" y="1067286"/>
                    <a:pt x="669507" y="1036637"/>
                    <a:pt x="618053" y="1036637"/>
                  </a:cubicBezTo>
                  <a:close/>
                  <a:moveTo>
                    <a:pt x="186512" y="796925"/>
                  </a:moveTo>
                  <a:cubicBezTo>
                    <a:pt x="136572" y="796925"/>
                    <a:pt x="106608" y="824054"/>
                    <a:pt x="94480" y="850468"/>
                  </a:cubicBezTo>
                  <a:cubicBezTo>
                    <a:pt x="52387" y="937564"/>
                    <a:pt x="108035" y="978257"/>
                    <a:pt x="142993" y="992535"/>
                  </a:cubicBezTo>
                  <a:cubicBezTo>
                    <a:pt x="142993" y="992535"/>
                    <a:pt x="142993" y="992535"/>
                    <a:pt x="144420" y="1018950"/>
                  </a:cubicBezTo>
                  <a:cubicBezTo>
                    <a:pt x="144420" y="1021091"/>
                    <a:pt x="145133" y="1022519"/>
                    <a:pt x="146560" y="1023233"/>
                  </a:cubicBezTo>
                  <a:cubicBezTo>
                    <a:pt x="168677" y="1036083"/>
                    <a:pt x="195074" y="1038225"/>
                    <a:pt x="206488" y="1038225"/>
                  </a:cubicBezTo>
                  <a:cubicBezTo>
                    <a:pt x="209342" y="1038225"/>
                    <a:pt x="211482" y="1037511"/>
                    <a:pt x="212196" y="1037511"/>
                  </a:cubicBezTo>
                  <a:cubicBezTo>
                    <a:pt x="214336" y="1037511"/>
                    <a:pt x="216476" y="1035370"/>
                    <a:pt x="216476" y="1032514"/>
                  </a:cubicBezTo>
                  <a:cubicBezTo>
                    <a:pt x="216476" y="1032514"/>
                    <a:pt x="216476" y="1032514"/>
                    <a:pt x="216476" y="991821"/>
                  </a:cubicBezTo>
                  <a:cubicBezTo>
                    <a:pt x="222184" y="992535"/>
                    <a:pt x="230032" y="992535"/>
                    <a:pt x="232885" y="992535"/>
                  </a:cubicBezTo>
                  <a:cubicBezTo>
                    <a:pt x="254288" y="993249"/>
                    <a:pt x="259996" y="989680"/>
                    <a:pt x="262850" y="987538"/>
                  </a:cubicBezTo>
                  <a:cubicBezTo>
                    <a:pt x="265703" y="984682"/>
                    <a:pt x="268557" y="978257"/>
                    <a:pt x="267844" y="956126"/>
                  </a:cubicBezTo>
                  <a:cubicBezTo>
                    <a:pt x="267844" y="950415"/>
                    <a:pt x="267844" y="943990"/>
                    <a:pt x="267844" y="939706"/>
                  </a:cubicBezTo>
                  <a:cubicBezTo>
                    <a:pt x="281399" y="939706"/>
                    <a:pt x="287820" y="933281"/>
                    <a:pt x="289960" y="928998"/>
                  </a:cubicBezTo>
                  <a:cubicBezTo>
                    <a:pt x="292100" y="923286"/>
                    <a:pt x="285679" y="914006"/>
                    <a:pt x="280685" y="909008"/>
                  </a:cubicBezTo>
                  <a:cubicBezTo>
                    <a:pt x="276405" y="904725"/>
                    <a:pt x="272838" y="897586"/>
                    <a:pt x="270697" y="892588"/>
                  </a:cubicBezTo>
                  <a:cubicBezTo>
                    <a:pt x="269270" y="890447"/>
                    <a:pt x="268557" y="876883"/>
                    <a:pt x="269270" y="869743"/>
                  </a:cubicBezTo>
                  <a:cubicBezTo>
                    <a:pt x="270697" y="854751"/>
                    <a:pt x="263563" y="845471"/>
                    <a:pt x="261423" y="841901"/>
                  </a:cubicBezTo>
                  <a:cubicBezTo>
                    <a:pt x="262136" y="839759"/>
                    <a:pt x="263563" y="837618"/>
                    <a:pt x="264990" y="835476"/>
                  </a:cubicBezTo>
                  <a:cubicBezTo>
                    <a:pt x="267844" y="823340"/>
                    <a:pt x="243587" y="796925"/>
                    <a:pt x="186512" y="796925"/>
                  </a:cubicBezTo>
                  <a:close/>
                  <a:moveTo>
                    <a:pt x="1044739" y="793751"/>
                  </a:moveTo>
                  <a:cubicBezTo>
                    <a:pt x="986327" y="793751"/>
                    <a:pt x="1003423" y="808772"/>
                    <a:pt x="949285" y="807342"/>
                  </a:cubicBezTo>
                  <a:cubicBezTo>
                    <a:pt x="943586" y="807342"/>
                    <a:pt x="960682" y="827370"/>
                    <a:pt x="963532" y="839530"/>
                  </a:cubicBezTo>
                  <a:cubicBezTo>
                    <a:pt x="964244" y="840246"/>
                    <a:pt x="964244" y="840246"/>
                    <a:pt x="964244" y="840246"/>
                  </a:cubicBezTo>
                  <a:cubicBezTo>
                    <a:pt x="964957" y="840246"/>
                    <a:pt x="966381" y="839530"/>
                    <a:pt x="967094" y="839530"/>
                  </a:cubicBezTo>
                  <a:cubicBezTo>
                    <a:pt x="966381" y="846683"/>
                    <a:pt x="965669" y="860274"/>
                    <a:pt x="964244" y="865281"/>
                  </a:cubicBezTo>
                  <a:cubicBezTo>
                    <a:pt x="962819" y="868858"/>
                    <a:pt x="961395" y="873865"/>
                    <a:pt x="960682" y="878872"/>
                  </a:cubicBezTo>
                  <a:cubicBezTo>
                    <a:pt x="959970" y="882448"/>
                    <a:pt x="959258" y="886025"/>
                    <a:pt x="958545" y="888171"/>
                  </a:cubicBezTo>
                  <a:cubicBezTo>
                    <a:pt x="955696" y="896039"/>
                    <a:pt x="952134" y="902477"/>
                    <a:pt x="949285" y="906053"/>
                  </a:cubicBezTo>
                  <a:cubicBezTo>
                    <a:pt x="948573" y="906768"/>
                    <a:pt x="948573" y="907484"/>
                    <a:pt x="947860" y="908199"/>
                  </a:cubicBezTo>
                  <a:cubicBezTo>
                    <a:pt x="941449" y="914637"/>
                    <a:pt x="935038" y="921074"/>
                    <a:pt x="937175" y="927512"/>
                  </a:cubicBezTo>
                  <a:cubicBezTo>
                    <a:pt x="938600" y="930373"/>
                    <a:pt x="942874" y="938957"/>
                    <a:pt x="959258" y="939672"/>
                  </a:cubicBezTo>
                  <a:cubicBezTo>
                    <a:pt x="958545" y="946825"/>
                    <a:pt x="957121" y="960416"/>
                    <a:pt x="957833" y="968999"/>
                  </a:cubicBezTo>
                  <a:cubicBezTo>
                    <a:pt x="957833" y="968999"/>
                    <a:pt x="957833" y="968999"/>
                    <a:pt x="957833" y="970430"/>
                  </a:cubicBezTo>
                  <a:cubicBezTo>
                    <a:pt x="959258" y="984021"/>
                    <a:pt x="959258" y="991174"/>
                    <a:pt x="964957" y="994750"/>
                  </a:cubicBezTo>
                  <a:cubicBezTo>
                    <a:pt x="969943" y="996896"/>
                    <a:pt x="987039" y="999042"/>
                    <a:pt x="1009122" y="996896"/>
                  </a:cubicBezTo>
                  <a:cubicBezTo>
                    <a:pt x="1009122" y="996896"/>
                    <a:pt x="1009122" y="996896"/>
                    <a:pt x="1009122" y="1034807"/>
                  </a:cubicBezTo>
                  <a:cubicBezTo>
                    <a:pt x="1009122" y="1037668"/>
                    <a:pt x="1011259" y="1039814"/>
                    <a:pt x="1014108" y="1039814"/>
                  </a:cubicBezTo>
                  <a:cubicBezTo>
                    <a:pt x="1017670" y="1039814"/>
                    <a:pt x="1063972" y="1039814"/>
                    <a:pt x="1099589" y="1024793"/>
                  </a:cubicBezTo>
                  <a:cubicBezTo>
                    <a:pt x="1101726" y="1024078"/>
                    <a:pt x="1103150" y="1021932"/>
                    <a:pt x="1103150" y="1019786"/>
                  </a:cubicBezTo>
                  <a:cubicBezTo>
                    <a:pt x="1103150" y="1019786"/>
                    <a:pt x="1103150" y="1019786"/>
                    <a:pt x="1103150" y="965423"/>
                  </a:cubicBezTo>
                  <a:cubicBezTo>
                    <a:pt x="1120959" y="946825"/>
                    <a:pt x="1157288" y="899615"/>
                    <a:pt x="1134493" y="851690"/>
                  </a:cubicBezTo>
                  <a:cubicBezTo>
                    <a:pt x="1122384" y="824509"/>
                    <a:pt x="1096739" y="793751"/>
                    <a:pt x="1044739" y="793751"/>
                  </a:cubicBezTo>
                  <a:close/>
                  <a:moveTo>
                    <a:pt x="555302" y="748985"/>
                  </a:moveTo>
                  <a:cubicBezTo>
                    <a:pt x="559140" y="747912"/>
                    <a:pt x="563425" y="748270"/>
                    <a:pt x="566995" y="750414"/>
                  </a:cubicBezTo>
                  <a:cubicBezTo>
                    <a:pt x="580562" y="758278"/>
                    <a:pt x="596272" y="761852"/>
                    <a:pt x="611981" y="761852"/>
                  </a:cubicBezTo>
                  <a:cubicBezTo>
                    <a:pt x="620550" y="761852"/>
                    <a:pt x="627691" y="769000"/>
                    <a:pt x="627691" y="777579"/>
                  </a:cubicBezTo>
                  <a:cubicBezTo>
                    <a:pt x="627691" y="777579"/>
                    <a:pt x="627691" y="777579"/>
                    <a:pt x="627691" y="974162"/>
                  </a:cubicBezTo>
                  <a:cubicBezTo>
                    <a:pt x="722662" y="982026"/>
                    <a:pt x="796925" y="1061374"/>
                    <a:pt x="796925" y="1158594"/>
                  </a:cubicBezTo>
                  <a:cubicBezTo>
                    <a:pt x="796925" y="1260817"/>
                    <a:pt x="714093" y="1343025"/>
                    <a:pt x="611981" y="1343025"/>
                  </a:cubicBezTo>
                  <a:cubicBezTo>
                    <a:pt x="509869" y="1343025"/>
                    <a:pt x="427037" y="1260817"/>
                    <a:pt x="427037" y="1158594"/>
                  </a:cubicBezTo>
                  <a:cubicBezTo>
                    <a:pt x="427037" y="1061374"/>
                    <a:pt x="501300" y="982026"/>
                    <a:pt x="596272" y="974162"/>
                  </a:cubicBezTo>
                  <a:cubicBezTo>
                    <a:pt x="596272" y="974162"/>
                    <a:pt x="596272" y="974162"/>
                    <a:pt x="596272" y="792590"/>
                  </a:cubicBezTo>
                  <a:cubicBezTo>
                    <a:pt x="580562" y="790446"/>
                    <a:pt x="565567" y="785442"/>
                    <a:pt x="551999" y="777579"/>
                  </a:cubicBezTo>
                  <a:cubicBezTo>
                    <a:pt x="544145" y="773289"/>
                    <a:pt x="542002" y="763996"/>
                    <a:pt x="546287" y="756133"/>
                  </a:cubicBezTo>
                  <a:cubicBezTo>
                    <a:pt x="548072" y="752559"/>
                    <a:pt x="551464" y="750057"/>
                    <a:pt x="555302" y="748985"/>
                  </a:cubicBezTo>
                  <a:close/>
                  <a:moveTo>
                    <a:pt x="700807" y="709287"/>
                  </a:moveTo>
                  <a:cubicBezTo>
                    <a:pt x="704648" y="708219"/>
                    <a:pt x="708757" y="708575"/>
                    <a:pt x="712330" y="710712"/>
                  </a:cubicBezTo>
                  <a:cubicBezTo>
                    <a:pt x="712330" y="710712"/>
                    <a:pt x="712330" y="710712"/>
                    <a:pt x="888115" y="811848"/>
                  </a:cubicBezTo>
                  <a:cubicBezTo>
                    <a:pt x="921700" y="764129"/>
                    <a:pt x="976722" y="732791"/>
                    <a:pt x="1040319" y="732791"/>
                  </a:cubicBezTo>
                  <a:cubicBezTo>
                    <a:pt x="1141788" y="732791"/>
                    <a:pt x="1223964" y="814697"/>
                    <a:pt x="1223964" y="917258"/>
                  </a:cubicBezTo>
                  <a:cubicBezTo>
                    <a:pt x="1223964" y="1019107"/>
                    <a:pt x="1141788" y="1101726"/>
                    <a:pt x="1040319" y="1101726"/>
                  </a:cubicBezTo>
                  <a:cubicBezTo>
                    <a:pt x="938135" y="1101726"/>
                    <a:pt x="855244" y="1019107"/>
                    <a:pt x="855244" y="917258"/>
                  </a:cubicBezTo>
                  <a:cubicBezTo>
                    <a:pt x="855244" y="889481"/>
                    <a:pt x="860961" y="863129"/>
                    <a:pt x="872394" y="839625"/>
                  </a:cubicBezTo>
                  <a:cubicBezTo>
                    <a:pt x="872394" y="839625"/>
                    <a:pt x="872394" y="839625"/>
                    <a:pt x="709471" y="745611"/>
                  </a:cubicBezTo>
                  <a:cubicBezTo>
                    <a:pt x="700896" y="757007"/>
                    <a:pt x="689463" y="766978"/>
                    <a:pt x="677315" y="774812"/>
                  </a:cubicBezTo>
                  <a:cubicBezTo>
                    <a:pt x="670170" y="779798"/>
                    <a:pt x="660166" y="777661"/>
                    <a:pt x="655878" y="769827"/>
                  </a:cubicBezTo>
                  <a:cubicBezTo>
                    <a:pt x="650876" y="762704"/>
                    <a:pt x="653020" y="752733"/>
                    <a:pt x="660880" y="748460"/>
                  </a:cubicBezTo>
                  <a:cubicBezTo>
                    <a:pt x="673028" y="740625"/>
                    <a:pt x="683747" y="729942"/>
                    <a:pt x="690892" y="717122"/>
                  </a:cubicBezTo>
                  <a:cubicBezTo>
                    <a:pt x="690892" y="717122"/>
                    <a:pt x="690892" y="717122"/>
                    <a:pt x="690892" y="716409"/>
                  </a:cubicBezTo>
                  <a:cubicBezTo>
                    <a:pt x="693393" y="712848"/>
                    <a:pt x="696966" y="710355"/>
                    <a:pt x="700807" y="709287"/>
                  </a:cubicBezTo>
                  <a:close/>
                  <a:moveTo>
                    <a:pt x="505180" y="655637"/>
                  </a:moveTo>
                  <a:cubicBezTo>
                    <a:pt x="513742" y="655637"/>
                    <a:pt x="520878" y="662763"/>
                    <a:pt x="520878" y="671314"/>
                  </a:cubicBezTo>
                  <a:cubicBezTo>
                    <a:pt x="520878" y="686992"/>
                    <a:pt x="524445" y="702669"/>
                    <a:pt x="532294" y="716208"/>
                  </a:cubicBezTo>
                  <a:cubicBezTo>
                    <a:pt x="533008" y="716921"/>
                    <a:pt x="533721" y="717633"/>
                    <a:pt x="533721" y="719059"/>
                  </a:cubicBezTo>
                  <a:cubicBezTo>
                    <a:pt x="536575" y="726185"/>
                    <a:pt x="533721" y="734023"/>
                    <a:pt x="527299" y="738299"/>
                  </a:cubicBezTo>
                  <a:cubicBezTo>
                    <a:pt x="527299" y="738299"/>
                    <a:pt x="527299" y="738299"/>
                    <a:pt x="351771" y="839488"/>
                  </a:cubicBezTo>
                  <a:cubicBezTo>
                    <a:pt x="363187" y="863004"/>
                    <a:pt x="368896" y="889370"/>
                    <a:pt x="368896" y="917162"/>
                  </a:cubicBezTo>
                  <a:cubicBezTo>
                    <a:pt x="368896" y="1019063"/>
                    <a:pt x="286126" y="1101725"/>
                    <a:pt x="184091" y="1101725"/>
                  </a:cubicBezTo>
                  <a:cubicBezTo>
                    <a:pt x="82770" y="1101725"/>
                    <a:pt x="0" y="1019063"/>
                    <a:pt x="0" y="917162"/>
                  </a:cubicBezTo>
                  <a:cubicBezTo>
                    <a:pt x="0" y="814547"/>
                    <a:pt x="82770" y="732598"/>
                    <a:pt x="184091" y="732598"/>
                  </a:cubicBezTo>
                  <a:cubicBezTo>
                    <a:pt x="247595" y="732598"/>
                    <a:pt x="302537" y="763952"/>
                    <a:pt x="336073" y="811697"/>
                  </a:cubicBezTo>
                  <a:cubicBezTo>
                    <a:pt x="336073" y="811697"/>
                    <a:pt x="336073" y="811697"/>
                    <a:pt x="498758" y="718346"/>
                  </a:cubicBezTo>
                  <a:cubicBezTo>
                    <a:pt x="492336" y="703381"/>
                    <a:pt x="489482" y="687704"/>
                    <a:pt x="489482" y="671314"/>
                  </a:cubicBezTo>
                  <a:cubicBezTo>
                    <a:pt x="489482" y="662763"/>
                    <a:pt x="496618" y="655637"/>
                    <a:pt x="505180" y="655637"/>
                  </a:cubicBezTo>
                  <a:close/>
                  <a:moveTo>
                    <a:pt x="611982" y="623887"/>
                  </a:moveTo>
                  <a:cubicBezTo>
                    <a:pt x="637847" y="623887"/>
                    <a:pt x="658814" y="645209"/>
                    <a:pt x="658814" y="671512"/>
                  </a:cubicBezTo>
                  <a:cubicBezTo>
                    <a:pt x="658814" y="697815"/>
                    <a:pt x="637847" y="719137"/>
                    <a:pt x="611982" y="719137"/>
                  </a:cubicBezTo>
                  <a:cubicBezTo>
                    <a:pt x="586117" y="719137"/>
                    <a:pt x="565150" y="697815"/>
                    <a:pt x="565150" y="671512"/>
                  </a:cubicBezTo>
                  <a:cubicBezTo>
                    <a:pt x="565150" y="645209"/>
                    <a:pt x="586117" y="623887"/>
                    <a:pt x="611982" y="623887"/>
                  </a:cubicBezTo>
                  <a:close/>
                  <a:moveTo>
                    <a:pt x="1037450" y="304800"/>
                  </a:moveTo>
                  <a:cubicBezTo>
                    <a:pt x="980376" y="304800"/>
                    <a:pt x="956119" y="331293"/>
                    <a:pt x="958973" y="342749"/>
                  </a:cubicBezTo>
                  <a:cubicBezTo>
                    <a:pt x="960400" y="344897"/>
                    <a:pt x="961826" y="347046"/>
                    <a:pt x="962540" y="349194"/>
                  </a:cubicBezTo>
                  <a:cubicBezTo>
                    <a:pt x="960400" y="352774"/>
                    <a:pt x="953265" y="362082"/>
                    <a:pt x="954692" y="377119"/>
                  </a:cubicBezTo>
                  <a:cubicBezTo>
                    <a:pt x="955405" y="384995"/>
                    <a:pt x="954692" y="397883"/>
                    <a:pt x="953265" y="400747"/>
                  </a:cubicBezTo>
                  <a:cubicBezTo>
                    <a:pt x="951125" y="405759"/>
                    <a:pt x="947558" y="412204"/>
                    <a:pt x="943277" y="416500"/>
                  </a:cubicBezTo>
                  <a:cubicBezTo>
                    <a:pt x="938283" y="421512"/>
                    <a:pt x="931862" y="430820"/>
                    <a:pt x="934003" y="436549"/>
                  </a:cubicBezTo>
                  <a:cubicBezTo>
                    <a:pt x="936143" y="440845"/>
                    <a:pt x="942564" y="447289"/>
                    <a:pt x="956119" y="448005"/>
                  </a:cubicBezTo>
                  <a:cubicBezTo>
                    <a:pt x="956119" y="451585"/>
                    <a:pt x="956119" y="458029"/>
                    <a:pt x="956119" y="464473"/>
                  </a:cubicBezTo>
                  <a:cubicBezTo>
                    <a:pt x="955405" y="486670"/>
                    <a:pt x="958259" y="492398"/>
                    <a:pt x="961113" y="495262"/>
                  </a:cubicBezTo>
                  <a:cubicBezTo>
                    <a:pt x="963967" y="498127"/>
                    <a:pt x="969674" y="500991"/>
                    <a:pt x="991077" y="500991"/>
                  </a:cubicBezTo>
                  <a:cubicBezTo>
                    <a:pt x="993931" y="500991"/>
                    <a:pt x="1001779" y="500275"/>
                    <a:pt x="1007486" y="500275"/>
                  </a:cubicBezTo>
                  <a:cubicBezTo>
                    <a:pt x="1007486" y="500275"/>
                    <a:pt x="1007486" y="500275"/>
                    <a:pt x="1007486" y="540372"/>
                  </a:cubicBezTo>
                  <a:cubicBezTo>
                    <a:pt x="1007486" y="543236"/>
                    <a:pt x="1009626" y="545384"/>
                    <a:pt x="1011767" y="546100"/>
                  </a:cubicBezTo>
                  <a:cubicBezTo>
                    <a:pt x="1012480" y="546100"/>
                    <a:pt x="1014620" y="546100"/>
                    <a:pt x="1017474" y="546100"/>
                  </a:cubicBezTo>
                  <a:cubicBezTo>
                    <a:pt x="1028889" y="546100"/>
                    <a:pt x="1055286" y="544668"/>
                    <a:pt x="1077402" y="531780"/>
                  </a:cubicBezTo>
                  <a:cubicBezTo>
                    <a:pt x="1078829" y="530348"/>
                    <a:pt x="1079543" y="528916"/>
                    <a:pt x="1079543" y="527484"/>
                  </a:cubicBezTo>
                  <a:cubicBezTo>
                    <a:pt x="1079543" y="527484"/>
                    <a:pt x="1079543" y="527484"/>
                    <a:pt x="1080969" y="500275"/>
                  </a:cubicBezTo>
                  <a:cubicBezTo>
                    <a:pt x="1115928" y="486670"/>
                    <a:pt x="1171575" y="445141"/>
                    <a:pt x="1129483" y="358502"/>
                  </a:cubicBezTo>
                  <a:cubicBezTo>
                    <a:pt x="1117354" y="332009"/>
                    <a:pt x="1087390" y="304800"/>
                    <a:pt x="1037450" y="304800"/>
                  </a:cubicBezTo>
                  <a:close/>
                  <a:moveTo>
                    <a:pt x="179226" y="303212"/>
                  </a:moveTo>
                  <a:cubicBezTo>
                    <a:pt x="127225" y="303212"/>
                    <a:pt x="101581" y="333861"/>
                    <a:pt x="89471" y="360233"/>
                  </a:cubicBezTo>
                  <a:cubicBezTo>
                    <a:pt x="66676" y="407987"/>
                    <a:pt x="103006" y="455029"/>
                    <a:pt x="120814" y="474273"/>
                  </a:cubicBezTo>
                  <a:cubicBezTo>
                    <a:pt x="120814" y="474273"/>
                    <a:pt x="120814" y="474273"/>
                    <a:pt x="120814" y="527730"/>
                  </a:cubicBezTo>
                  <a:cubicBezTo>
                    <a:pt x="120814" y="529868"/>
                    <a:pt x="122239" y="532007"/>
                    <a:pt x="124376" y="532719"/>
                  </a:cubicBezTo>
                  <a:cubicBezTo>
                    <a:pt x="159993" y="547687"/>
                    <a:pt x="206295" y="547687"/>
                    <a:pt x="209857" y="547687"/>
                  </a:cubicBezTo>
                  <a:cubicBezTo>
                    <a:pt x="212706" y="547687"/>
                    <a:pt x="214843" y="545549"/>
                    <a:pt x="214843" y="542698"/>
                  </a:cubicBezTo>
                  <a:cubicBezTo>
                    <a:pt x="214843" y="542698"/>
                    <a:pt x="214843" y="542698"/>
                    <a:pt x="214843" y="505635"/>
                  </a:cubicBezTo>
                  <a:cubicBezTo>
                    <a:pt x="236925" y="507773"/>
                    <a:pt x="254022" y="504922"/>
                    <a:pt x="259008" y="502784"/>
                  </a:cubicBezTo>
                  <a:cubicBezTo>
                    <a:pt x="264707" y="499933"/>
                    <a:pt x="264707" y="492092"/>
                    <a:pt x="266131" y="478550"/>
                  </a:cubicBezTo>
                  <a:cubicBezTo>
                    <a:pt x="266131" y="478550"/>
                    <a:pt x="266131" y="478550"/>
                    <a:pt x="266131" y="477124"/>
                  </a:cubicBezTo>
                  <a:cubicBezTo>
                    <a:pt x="266844" y="468571"/>
                    <a:pt x="265419" y="455742"/>
                    <a:pt x="264707" y="447901"/>
                  </a:cubicBezTo>
                  <a:cubicBezTo>
                    <a:pt x="281091" y="447189"/>
                    <a:pt x="285365" y="438636"/>
                    <a:pt x="286789" y="435785"/>
                  </a:cubicBezTo>
                  <a:cubicBezTo>
                    <a:pt x="288926" y="429370"/>
                    <a:pt x="282515" y="422955"/>
                    <a:pt x="276104" y="416540"/>
                  </a:cubicBezTo>
                  <a:cubicBezTo>
                    <a:pt x="275392" y="415827"/>
                    <a:pt x="275392" y="415115"/>
                    <a:pt x="274679" y="414402"/>
                  </a:cubicBezTo>
                  <a:cubicBezTo>
                    <a:pt x="271830" y="411551"/>
                    <a:pt x="268268" y="404423"/>
                    <a:pt x="265419" y="396583"/>
                  </a:cubicBezTo>
                  <a:cubicBezTo>
                    <a:pt x="264707" y="394445"/>
                    <a:pt x="263994" y="390881"/>
                    <a:pt x="263282" y="387317"/>
                  </a:cubicBezTo>
                  <a:cubicBezTo>
                    <a:pt x="262570" y="383041"/>
                    <a:pt x="261145" y="378051"/>
                    <a:pt x="259720" y="373775"/>
                  </a:cubicBezTo>
                  <a:cubicBezTo>
                    <a:pt x="258296" y="368786"/>
                    <a:pt x="257583" y="355956"/>
                    <a:pt x="256871" y="348828"/>
                  </a:cubicBezTo>
                  <a:cubicBezTo>
                    <a:pt x="257583" y="348116"/>
                    <a:pt x="259008" y="349541"/>
                    <a:pt x="259720" y="348828"/>
                  </a:cubicBezTo>
                  <a:cubicBezTo>
                    <a:pt x="259720" y="348828"/>
                    <a:pt x="259720" y="348828"/>
                    <a:pt x="260433" y="348116"/>
                  </a:cubicBezTo>
                  <a:cubicBezTo>
                    <a:pt x="263282" y="336712"/>
                    <a:pt x="280378" y="317467"/>
                    <a:pt x="274679" y="317467"/>
                  </a:cubicBezTo>
                  <a:cubicBezTo>
                    <a:pt x="220542" y="318180"/>
                    <a:pt x="237638" y="303212"/>
                    <a:pt x="179226" y="303212"/>
                  </a:cubicBezTo>
                  <a:close/>
                  <a:moveTo>
                    <a:pt x="1040096" y="241300"/>
                  </a:moveTo>
                  <a:cubicBezTo>
                    <a:pt x="1141687" y="241300"/>
                    <a:pt x="1223962" y="324094"/>
                    <a:pt x="1223962" y="426159"/>
                  </a:cubicBezTo>
                  <a:cubicBezTo>
                    <a:pt x="1223962" y="528224"/>
                    <a:pt x="1141687" y="610304"/>
                    <a:pt x="1040096" y="610304"/>
                  </a:cubicBezTo>
                  <a:cubicBezTo>
                    <a:pt x="976422" y="610304"/>
                    <a:pt x="921334" y="578900"/>
                    <a:pt x="887709" y="531079"/>
                  </a:cubicBezTo>
                  <a:cubicBezTo>
                    <a:pt x="887709" y="531079"/>
                    <a:pt x="887709" y="531079"/>
                    <a:pt x="724590" y="624579"/>
                  </a:cubicBezTo>
                  <a:cubicBezTo>
                    <a:pt x="731029" y="639568"/>
                    <a:pt x="733890" y="655270"/>
                    <a:pt x="733890" y="671686"/>
                  </a:cubicBezTo>
                  <a:cubicBezTo>
                    <a:pt x="733890" y="680251"/>
                    <a:pt x="726736" y="687388"/>
                    <a:pt x="718151" y="687388"/>
                  </a:cubicBezTo>
                  <a:cubicBezTo>
                    <a:pt x="709566" y="687388"/>
                    <a:pt x="702411" y="680251"/>
                    <a:pt x="702411" y="671686"/>
                  </a:cubicBezTo>
                  <a:cubicBezTo>
                    <a:pt x="702411" y="655984"/>
                    <a:pt x="698834" y="640281"/>
                    <a:pt x="690964" y="626720"/>
                  </a:cubicBezTo>
                  <a:cubicBezTo>
                    <a:pt x="690249" y="625293"/>
                    <a:pt x="689534" y="623865"/>
                    <a:pt x="688818" y="622438"/>
                  </a:cubicBezTo>
                  <a:cubicBezTo>
                    <a:pt x="687387" y="616014"/>
                    <a:pt x="690249" y="608163"/>
                    <a:pt x="695972" y="604594"/>
                  </a:cubicBezTo>
                  <a:cubicBezTo>
                    <a:pt x="695972" y="604594"/>
                    <a:pt x="695972" y="604594"/>
                    <a:pt x="871969" y="503957"/>
                  </a:cubicBezTo>
                  <a:cubicBezTo>
                    <a:pt x="860522" y="480403"/>
                    <a:pt x="854799" y="453995"/>
                    <a:pt x="854799" y="426159"/>
                  </a:cubicBezTo>
                  <a:cubicBezTo>
                    <a:pt x="854799" y="324094"/>
                    <a:pt x="937789" y="241300"/>
                    <a:pt x="1040096" y="241300"/>
                  </a:cubicBezTo>
                  <a:close/>
                  <a:moveTo>
                    <a:pt x="184285" y="241300"/>
                  </a:moveTo>
                  <a:cubicBezTo>
                    <a:pt x="286426" y="241300"/>
                    <a:pt x="369282" y="324184"/>
                    <a:pt x="369282" y="426361"/>
                  </a:cubicBezTo>
                  <a:cubicBezTo>
                    <a:pt x="369282" y="454227"/>
                    <a:pt x="363568" y="480664"/>
                    <a:pt x="352140" y="504243"/>
                  </a:cubicBezTo>
                  <a:cubicBezTo>
                    <a:pt x="352140" y="504243"/>
                    <a:pt x="352140" y="504243"/>
                    <a:pt x="514995" y="597845"/>
                  </a:cubicBezTo>
                  <a:cubicBezTo>
                    <a:pt x="524995" y="584984"/>
                    <a:pt x="537852" y="573552"/>
                    <a:pt x="552137" y="565692"/>
                  </a:cubicBezTo>
                  <a:cubicBezTo>
                    <a:pt x="559280" y="561405"/>
                    <a:pt x="569280" y="563548"/>
                    <a:pt x="573566" y="571408"/>
                  </a:cubicBezTo>
                  <a:cubicBezTo>
                    <a:pt x="577851" y="579268"/>
                    <a:pt x="574994" y="588556"/>
                    <a:pt x="567137" y="592844"/>
                  </a:cubicBezTo>
                  <a:cubicBezTo>
                    <a:pt x="553566" y="600703"/>
                    <a:pt x="541423" y="612136"/>
                    <a:pt x="533566" y="626426"/>
                  </a:cubicBezTo>
                  <a:cubicBezTo>
                    <a:pt x="533566" y="626426"/>
                    <a:pt x="533566" y="626426"/>
                    <a:pt x="533566" y="627140"/>
                  </a:cubicBezTo>
                  <a:cubicBezTo>
                    <a:pt x="529995" y="632142"/>
                    <a:pt x="524995" y="635000"/>
                    <a:pt x="519995" y="635000"/>
                  </a:cubicBezTo>
                  <a:cubicBezTo>
                    <a:pt x="517138" y="635000"/>
                    <a:pt x="514281" y="634286"/>
                    <a:pt x="512138" y="632857"/>
                  </a:cubicBezTo>
                  <a:cubicBezTo>
                    <a:pt x="512138" y="632857"/>
                    <a:pt x="512138" y="632857"/>
                    <a:pt x="336426" y="531395"/>
                  </a:cubicBezTo>
                  <a:cubicBezTo>
                    <a:pt x="302855" y="579268"/>
                    <a:pt x="247855" y="610706"/>
                    <a:pt x="184285" y="610706"/>
                  </a:cubicBezTo>
                  <a:cubicBezTo>
                    <a:pt x="82857" y="610706"/>
                    <a:pt x="1" y="528537"/>
                    <a:pt x="1" y="426361"/>
                  </a:cubicBezTo>
                  <a:cubicBezTo>
                    <a:pt x="1" y="324184"/>
                    <a:pt x="82857" y="241300"/>
                    <a:pt x="184285" y="241300"/>
                  </a:cubicBezTo>
                  <a:close/>
                  <a:moveTo>
                    <a:pt x="605909" y="61912"/>
                  </a:moveTo>
                  <a:cubicBezTo>
                    <a:pt x="554456" y="61912"/>
                    <a:pt x="528729" y="92760"/>
                    <a:pt x="515866" y="119303"/>
                  </a:cubicBezTo>
                  <a:cubicBezTo>
                    <a:pt x="493712" y="167368"/>
                    <a:pt x="530158" y="214715"/>
                    <a:pt x="548024" y="233367"/>
                  </a:cubicBezTo>
                  <a:cubicBezTo>
                    <a:pt x="548024" y="233367"/>
                    <a:pt x="548024" y="233367"/>
                    <a:pt x="548024" y="287888"/>
                  </a:cubicBezTo>
                  <a:cubicBezTo>
                    <a:pt x="548024" y="290041"/>
                    <a:pt x="549453" y="292193"/>
                    <a:pt x="551597" y="292910"/>
                  </a:cubicBezTo>
                  <a:cubicBezTo>
                    <a:pt x="587329" y="307975"/>
                    <a:pt x="633065" y="307975"/>
                    <a:pt x="636638" y="307975"/>
                  </a:cubicBezTo>
                  <a:cubicBezTo>
                    <a:pt x="640211" y="307975"/>
                    <a:pt x="642355" y="305823"/>
                    <a:pt x="642355" y="302953"/>
                  </a:cubicBezTo>
                  <a:cubicBezTo>
                    <a:pt x="642355" y="302953"/>
                    <a:pt x="642355" y="302953"/>
                    <a:pt x="642355" y="264932"/>
                  </a:cubicBezTo>
                  <a:cubicBezTo>
                    <a:pt x="664509" y="267084"/>
                    <a:pt x="680945" y="264932"/>
                    <a:pt x="685948" y="262780"/>
                  </a:cubicBezTo>
                  <a:cubicBezTo>
                    <a:pt x="691665" y="259193"/>
                    <a:pt x="692379" y="252019"/>
                    <a:pt x="693094" y="238389"/>
                  </a:cubicBezTo>
                  <a:cubicBezTo>
                    <a:pt x="693094" y="238389"/>
                    <a:pt x="693094" y="238389"/>
                    <a:pt x="693094" y="236954"/>
                  </a:cubicBezTo>
                  <a:cubicBezTo>
                    <a:pt x="693809" y="228345"/>
                    <a:pt x="693094" y="214715"/>
                    <a:pt x="691665" y="207541"/>
                  </a:cubicBezTo>
                  <a:cubicBezTo>
                    <a:pt x="708816" y="206824"/>
                    <a:pt x="713104" y="198215"/>
                    <a:pt x="713818" y="195346"/>
                  </a:cubicBezTo>
                  <a:cubicBezTo>
                    <a:pt x="715962" y="188889"/>
                    <a:pt x="710245" y="182433"/>
                    <a:pt x="703814" y="175976"/>
                  </a:cubicBezTo>
                  <a:cubicBezTo>
                    <a:pt x="703099" y="175259"/>
                    <a:pt x="702384" y="174542"/>
                    <a:pt x="701670" y="173824"/>
                  </a:cubicBezTo>
                  <a:cubicBezTo>
                    <a:pt x="698811" y="170237"/>
                    <a:pt x="695953" y="163781"/>
                    <a:pt x="693094" y="155890"/>
                  </a:cubicBezTo>
                  <a:cubicBezTo>
                    <a:pt x="692379" y="153737"/>
                    <a:pt x="691665" y="150150"/>
                    <a:pt x="690950" y="146564"/>
                  </a:cubicBezTo>
                  <a:cubicBezTo>
                    <a:pt x="689521" y="141542"/>
                    <a:pt x="688806" y="136520"/>
                    <a:pt x="687377" y="132933"/>
                  </a:cubicBezTo>
                  <a:cubicBezTo>
                    <a:pt x="685948" y="127912"/>
                    <a:pt x="684519" y="114281"/>
                    <a:pt x="683804" y="107107"/>
                  </a:cubicBezTo>
                  <a:cubicBezTo>
                    <a:pt x="685233" y="107107"/>
                    <a:pt x="686662" y="107825"/>
                    <a:pt x="686662" y="107825"/>
                  </a:cubicBezTo>
                  <a:cubicBezTo>
                    <a:pt x="687377" y="107825"/>
                    <a:pt x="687377" y="107825"/>
                    <a:pt x="687377" y="107107"/>
                  </a:cubicBezTo>
                  <a:cubicBezTo>
                    <a:pt x="690236" y="94912"/>
                    <a:pt x="708101" y="75542"/>
                    <a:pt x="702384" y="75542"/>
                  </a:cubicBezTo>
                  <a:cubicBezTo>
                    <a:pt x="647358" y="76977"/>
                    <a:pt x="664509" y="61912"/>
                    <a:pt x="605909" y="61912"/>
                  </a:cubicBezTo>
                  <a:close/>
                  <a:moveTo>
                    <a:pt x="611981" y="0"/>
                  </a:moveTo>
                  <a:cubicBezTo>
                    <a:pt x="714093" y="0"/>
                    <a:pt x="796925" y="82120"/>
                    <a:pt x="796925" y="184235"/>
                  </a:cubicBezTo>
                  <a:cubicBezTo>
                    <a:pt x="796925" y="281350"/>
                    <a:pt x="722662" y="360614"/>
                    <a:pt x="627691" y="368469"/>
                  </a:cubicBezTo>
                  <a:cubicBezTo>
                    <a:pt x="627691" y="368469"/>
                    <a:pt x="627691" y="368469"/>
                    <a:pt x="627691" y="549133"/>
                  </a:cubicBezTo>
                  <a:cubicBezTo>
                    <a:pt x="641258" y="550561"/>
                    <a:pt x="654111" y="554846"/>
                    <a:pt x="666251" y="560558"/>
                  </a:cubicBezTo>
                  <a:cubicBezTo>
                    <a:pt x="674105" y="564843"/>
                    <a:pt x="676962" y="574126"/>
                    <a:pt x="673391" y="581981"/>
                  </a:cubicBezTo>
                  <a:cubicBezTo>
                    <a:pt x="670535" y="587694"/>
                    <a:pt x="664822" y="590550"/>
                    <a:pt x="659110" y="590550"/>
                  </a:cubicBezTo>
                  <a:cubicBezTo>
                    <a:pt x="656968" y="590550"/>
                    <a:pt x="654111" y="589836"/>
                    <a:pt x="651969" y="589122"/>
                  </a:cubicBezTo>
                  <a:cubicBezTo>
                    <a:pt x="639830" y="582695"/>
                    <a:pt x="626263" y="579839"/>
                    <a:pt x="611981" y="579839"/>
                  </a:cubicBezTo>
                  <a:cubicBezTo>
                    <a:pt x="603412" y="579839"/>
                    <a:pt x="596272" y="572698"/>
                    <a:pt x="596272" y="564129"/>
                  </a:cubicBezTo>
                  <a:cubicBezTo>
                    <a:pt x="596272" y="564129"/>
                    <a:pt x="596272" y="564129"/>
                    <a:pt x="596272" y="368469"/>
                  </a:cubicBezTo>
                  <a:cubicBezTo>
                    <a:pt x="501300" y="360614"/>
                    <a:pt x="427037" y="281350"/>
                    <a:pt x="427037" y="184235"/>
                  </a:cubicBezTo>
                  <a:cubicBezTo>
                    <a:pt x="427037" y="82120"/>
                    <a:pt x="509869" y="0"/>
                    <a:pt x="611981" y="0"/>
                  </a:cubicBez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spTree>
    <p:extLst>
      <p:ext uri="{BB962C8B-B14F-4D97-AF65-F5344CB8AC3E}">
        <p14:creationId xmlns:p14="http://schemas.microsoft.com/office/powerpoint/2010/main" val="40946708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39841093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8314" name="think-cell Slide" r:id="rId6" imgW="410" imgH="409" progId="TCLayout.ActiveDocument.1">
                  <p:embed/>
                </p:oleObj>
              </mc:Choice>
              <mc:Fallback>
                <p:oleObj name="think-cell Slide" r:id="rId6" imgW="410" imgH="409"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3400" dirty="0" smtClean="0">
              <a:solidFill>
                <a:srgbClr val="FFFFFF"/>
              </a:solidFill>
              <a:latin typeface="Trebuchet MS" panose="020B0603020202020204" pitchFamily="34" charset="0"/>
              <a:ea typeface="+mj-ea"/>
              <a:cs typeface="+mj-cs"/>
              <a:sym typeface="Trebuchet MS" panose="020B0603020202020204" pitchFamily="34" charset="0"/>
            </a:endParaRPr>
          </a:p>
        </p:txBody>
      </p:sp>
      <p:sp>
        <p:nvSpPr>
          <p:cNvPr id="3" name="Title 2"/>
          <p:cNvSpPr>
            <a:spLocks noGrp="1"/>
          </p:cNvSpPr>
          <p:nvPr>
            <p:ph type="title"/>
          </p:nvPr>
        </p:nvSpPr>
        <p:spPr/>
        <p:txBody>
          <a:bodyPr/>
          <a:lstStyle/>
          <a:p>
            <a:r>
              <a:rPr lang="en-US" dirty="0" smtClean="0"/>
              <a:t>Data Cleanup (Alteryx)</a:t>
            </a:r>
            <a:endParaRPr lang="en-US" dirty="0"/>
          </a:p>
        </p:txBody>
      </p:sp>
      <p:sp>
        <p:nvSpPr>
          <p:cNvPr id="5" name="TextBox 4"/>
          <p:cNvSpPr txBox="1"/>
          <p:nvPr/>
        </p:nvSpPr>
        <p:spPr>
          <a:xfrm>
            <a:off x="630000" y="1524303"/>
            <a:ext cx="4294540" cy="547140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indent="-285750">
              <a:buFont typeface="Arial" panose="020B0604020202020204" pitchFamily="34" charset="0"/>
              <a:buChar char="•"/>
            </a:pPr>
            <a:r>
              <a:rPr lang="en-US" dirty="0" smtClean="0">
                <a:solidFill>
                  <a:srgbClr val="575757"/>
                </a:solidFill>
              </a:rPr>
              <a:t>Used formula tool to create new columns containing gender, name of tournament, and court surface (grass, clay, etc</a:t>
            </a:r>
            <a:r>
              <a:rPr lang="en-US" dirty="0" smtClean="0">
                <a:solidFill>
                  <a:srgbClr val="575757"/>
                </a:solidFill>
              </a:rPr>
              <a:t>.)</a:t>
            </a:r>
          </a:p>
          <a:p>
            <a:endParaRPr lang="en-US" dirty="0" smtClean="0">
              <a:solidFill>
                <a:srgbClr val="575757"/>
              </a:solidFill>
            </a:endParaRPr>
          </a:p>
          <a:p>
            <a:pPr marL="285750" indent="-285750">
              <a:buFont typeface="Arial" panose="020B0604020202020204" pitchFamily="34" charset="0"/>
              <a:buChar char="•"/>
            </a:pPr>
            <a:r>
              <a:rPr lang="en-US" dirty="0" err="1" smtClean="0">
                <a:solidFill>
                  <a:srgbClr val="575757"/>
                </a:solidFill>
              </a:rPr>
              <a:t>Union</a:t>
            </a:r>
            <a:r>
              <a:rPr lang="en-US" dirty="0" err="1" smtClean="0">
                <a:solidFill>
                  <a:srgbClr val="575757"/>
                </a:solidFill>
              </a:rPr>
              <a:t>ed</a:t>
            </a:r>
            <a:r>
              <a:rPr lang="en-US" dirty="0" smtClean="0">
                <a:solidFill>
                  <a:srgbClr val="575757"/>
                </a:solidFill>
              </a:rPr>
              <a:t> major tournament data</a:t>
            </a:r>
          </a:p>
          <a:p>
            <a:endParaRPr lang="en-US" dirty="0" smtClean="0">
              <a:solidFill>
                <a:srgbClr val="575757"/>
              </a:solidFill>
            </a:endParaRPr>
          </a:p>
          <a:p>
            <a:pPr marL="285750" indent="-285750">
              <a:buFont typeface="Arial" panose="020B0604020202020204" pitchFamily="34" charset="0"/>
              <a:buChar char="•"/>
            </a:pPr>
            <a:r>
              <a:rPr lang="en-US" dirty="0" smtClean="0">
                <a:solidFill>
                  <a:srgbClr val="575757"/>
                </a:solidFill>
              </a:rPr>
              <a:t>Replaced null values in 'Final </a:t>
            </a:r>
            <a:r>
              <a:rPr lang="en-US" dirty="0" smtClean="0">
                <a:solidFill>
                  <a:srgbClr val="575757"/>
                </a:solidFill>
              </a:rPr>
              <a:t>G</a:t>
            </a:r>
            <a:r>
              <a:rPr lang="en-US" dirty="0" smtClean="0">
                <a:solidFill>
                  <a:srgbClr val="575757"/>
                </a:solidFill>
              </a:rPr>
              <a:t>ames' columns with blanks, filtered out blank fields (drop n/a)</a:t>
            </a:r>
          </a:p>
          <a:p>
            <a:endParaRPr lang="en-US" dirty="0" smtClean="0">
              <a:solidFill>
                <a:srgbClr val="575757"/>
              </a:solidFill>
            </a:endParaRPr>
          </a:p>
          <a:p>
            <a:pPr marL="285750" indent="-285750">
              <a:buFont typeface="Arial" panose="020B0604020202020204" pitchFamily="34" charset="0"/>
              <a:buChar char="•"/>
            </a:pPr>
            <a:r>
              <a:rPr lang="en-US" dirty="0" smtClean="0">
                <a:solidFill>
                  <a:srgbClr val="575757"/>
                </a:solidFill>
              </a:rPr>
              <a:t>Assigned match a record ID</a:t>
            </a:r>
          </a:p>
          <a:p>
            <a:endParaRPr lang="en-US" dirty="0" smtClean="0">
              <a:solidFill>
                <a:srgbClr val="575757"/>
              </a:solidFill>
            </a:endParaRPr>
          </a:p>
          <a:p>
            <a:pPr marL="285750" indent="-285750">
              <a:buFont typeface="Arial" panose="020B0604020202020204" pitchFamily="34" charset="0"/>
              <a:buChar char="•"/>
            </a:pPr>
            <a:r>
              <a:rPr lang="en-US" dirty="0" smtClean="0">
                <a:solidFill>
                  <a:srgbClr val="575757"/>
                </a:solidFill>
              </a:rPr>
              <a:t>Selected essential data fields to </a:t>
            </a:r>
          </a:p>
          <a:p>
            <a:r>
              <a:rPr lang="en-US" dirty="0">
                <a:solidFill>
                  <a:srgbClr val="575757"/>
                </a:solidFill>
              </a:rPr>
              <a:t> </a:t>
            </a:r>
            <a:r>
              <a:rPr lang="en-US" dirty="0" smtClean="0">
                <a:solidFill>
                  <a:srgbClr val="575757"/>
                </a:solidFill>
              </a:rPr>
              <a:t>   carry forward in workflow</a:t>
            </a:r>
          </a:p>
          <a:p>
            <a:endParaRPr lang="en-US" dirty="0" smtClean="0">
              <a:solidFill>
                <a:srgbClr val="575757"/>
              </a:solidFill>
            </a:endParaRPr>
          </a:p>
          <a:p>
            <a:pPr marL="285750" indent="-285750">
              <a:buFont typeface="Arial" panose="020B0604020202020204" pitchFamily="34" charset="0"/>
              <a:buChar char="•"/>
            </a:pPr>
            <a:r>
              <a:rPr lang="en-US" dirty="0" smtClean="0">
                <a:solidFill>
                  <a:srgbClr val="575757"/>
                </a:solidFill>
              </a:rPr>
              <a:t>Separated, and rejoined individual player data from matches to condense 'Player 1' and 'Player 2' fields into a single 'Player' field</a:t>
            </a:r>
            <a:endParaRPr lang="en-US" dirty="0" smtClean="0">
              <a:solidFill>
                <a:srgbClr val="575757"/>
              </a:solidFill>
            </a:endParaRPr>
          </a:p>
          <a:p>
            <a:pPr marL="285750" indent="-285750">
              <a:buFont typeface="Arial" panose="020B0604020202020204" pitchFamily="34" charset="0"/>
              <a:buChar char="•"/>
            </a:pPr>
            <a:endParaRPr lang="en-US" dirty="0" smtClean="0">
              <a:solidFill>
                <a:srgbClr val="575757"/>
              </a:solidFill>
            </a:endParaRPr>
          </a:p>
          <a:p>
            <a:pPr algn="ctr"/>
            <a:endParaRPr lang="en-US" dirty="0">
              <a:solidFill>
                <a:srgbClr val="575757"/>
              </a:solidFill>
            </a:endParaRPr>
          </a:p>
        </p:txBody>
      </p:sp>
      <p:pic>
        <p:nvPicPr>
          <p:cNvPr id="6" name="Picture 5"/>
          <p:cNvPicPr>
            <a:picLocks noChangeAspect="1"/>
          </p:cNvPicPr>
          <p:nvPr/>
        </p:nvPicPr>
        <p:blipFill>
          <a:blip r:embed="rId8"/>
          <a:stretch>
            <a:fillRect/>
          </a:stretch>
        </p:blipFill>
        <p:spPr>
          <a:xfrm>
            <a:off x="8054221" y="1248407"/>
            <a:ext cx="2456533" cy="1742668"/>
          </a:xfrm>
          <a:prstGeom prst="rect">
            <a:avLst/>
          </a:prstGeom>
        </p:spPr>
      </p:pic>
      <p:pic>
        <p:nvPicPr>
          <p:cNvPr id="8" name="Picture 7"/>
          <p:cNvPicPr>
            <a:picLocks noChangeAspect="1"/>
          </p:cNvPicPr>
          <p:nvPr/>
        </p:nvPicPr>
        <p:blipFill>
          <a:blip r:embed="rId9"/>
          <a:stretch>
            <a:fillRect/>
          </a:stretch>
        </p:blipFill>
        <p:spPr>
          <a:xfrm>
            <a:off x="8054221" y="3145784"/>
            <a:ext cx="2456533" cy="859787"/>
          </a:xfrm>
          <a:prstGeom prst="rect">
            <a:avLst/>
          </a:prstGeom>
        </p:spPr>
      </p:pic>
    </p:spTree>
    <p:extLst>
      <p:ext uri="{BB962C8B-B14F-4D97-AF65-F5344CB8AC3E}">
        <p14:creationId xmlns:p14="http://schemas.microsoft.com/office/powerpoint/2010/main" val="14842589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2807713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9340" name="think-cell Slide" r:id="rId5" imgW="410" imgH="409" progId="TCLayout.ActiveDocument.1">
                  <p:embed/>
                </p:oleObj>
              </mc:Choice>
              <mc:Fallback>
                <p:oleObj name="think-cell Slide" r:id="rId5" imgW="410" imgH="409"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5" name="Picture 4"/>
          <p:cNvPicPr>
            <a:picLocks noChangeAspect="1"/>
          </p:cNvPicPr>
          <p:nvPr/>
        </p:nvPicPr>
        <p:blipFill>
          <a:blip r:embed="rId7"/>
          <a:stretch>
            <a:fillRect/>
          </a:stretch>
        </p:blipFill>
        <p:spPr>
          <a:xfrm>
            <a:off x="6380492" y="0"/>
            <a:ext cx="5811508" cy="3369597"/>
          </a:xfrm>
          <a:prstGeom prst="rect">
            <a:avLst/>
          </a:prstGeom>
        </p:spPr>
      </p:pic>
      <p:sp>
        <p:nvSpPr>
          <p:cNvPr id="3" name="Title 2"/>
          <p:cNvSpPr>
            <a:spLocks noGrp="1"/>
          </p:cNvSpPr>
          <p:nvPr>
            <p:ph type="title"/>
          </p:nvPr>
        </p:nvSpPr>
        <p:spPr/>
        <p:txBody>
          <a:bodyPr/>
          <a:lstStyle/>
          <a:p>
            <a:r>
              <a:rPr lang="en-US" dirty="0" smtClean="0"/>
              <a:t>Clustering</a:t>
            </a:r>
            <a:endParaRPr lang="en-US" dirty="0"/>
          </a:p>
        </p:txBody>
      </p:sp>
      <p:sp>
        <p:nvSpPr>
          <p:cNvPr id="4" name="TextBox 3"/>
          <p:cNvSpPr txBox="1"/>
          <p:nvPr/>
        </p:nvSpPr>
        <p:spPr>
          <a:xfrm>
            <a:off x="299494" y="1645760"/>
            <a:ext cx="4334720" cy="213552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indent="-285750">
              <a:buFont typeface="Arial" panose="020B0604020202020204" pitchFamily="34" charset="0"/>
              <a:buChar char="•"/>
            </a:pPr>
            <a:r>
              <a:rPr lang="en-US" dirty="0" smtClean="0">
                <a:solidFill>
                  <a:srgbClr val="575757"/>
                </a:solidFill>
              </a:rPr>
              <a:t>Summarized player data plugged in to Python tool</a:t>
            </a:r>
          </a:p>
          <a:p>
            <a:endParaRPr lang="en-US" dirty="0" smtClean="0">
              <a:solidFill>
                <a:srgbClr val="575757"/>
              </a:solidFill>
            </a:endParaRPr>
          </a:p>
          <a:p>
            <a:pPr marL="285750" indent="-285750">
              <a:buFont typeface="Arial" panose="020B0604020202020204" pitchFamily="34" charset="0"/>
              <a:buChar char="•"/>
            </a:pPr>
            <a:r>
              <a:rPr lang="en-US" dirty="0" smtClean="0">
                <a:solidFill>
                  <a:srgbClr val="575757"/>
                </a:solidFill>
              </a:rPr>
              <a:t>Utilized Elbow method to </a:t>
            </a:r>
            <a:r>
              <a:rPr lang="en-US" dirty="0" err="1" smtClean="0">
                <a:solidFill>
                  <a:srgbClr val="575757"/>
                </a:solidFill>
              </a:rPr>
              <a:t>validify</a:t>
            </a:r>
            <a:r>
              <a:rPr lang="en-US" dirty="0" smtClean="0">
                <a:solidFill>
                  <a:srgbClr val="575757"/>
                </a:solidFill>
              </a:rPr>
              <a:t> optimal number of clusters</a:t>
            </a:r>
          </a:p>
          <a:p>
            <a:endParaRPr lang="en-US" dirty="0" smtClean="0">
              <a:solidFill>
                <a:srgbClr val="575757"/>
              </a:solidFill>
            </a:endParaRPr>
          </a:p>
          <a:p>
            <a:pPr marL="285750" indent="-285750">
              <a:buFont typeface="Arial" panose="020B0604020202020204" pitchFamily="34" charset="0"/>
              <a:buChar char="•"/>
            </a:pPr>
            <a:r>
              <a:rPr lang="en-US" dirty="0" smtClean="0">
                <a:solidFill>
                  <a:srgbClr val="575757"/>
                </a:solidFill>
              </a:rPr>
              <a:t>Use K-Means to cluster players</a:t>
            </a:r>
            <a:endParaRPr lang="en-US" dirty="0" smtClean="0">
              <a:solidFill>
                <a:srgbClr val="575757"/>
              </a:solidFill>
            </a:endParaRPr>
          </a:p>
          <a:p>
            <a:pPr marL="285750" indent="-285750">
              <a:buFont typeface="Arial" panose="020B0604020202020204" pitchFamily="34" charset="0"/>
              <a:buChar char="•"/>
            </a:pPr>
            <a:endParaRPr lang="en-US" dirty="0" smtClean="0">
              <a:solidFill>
                <a:srgbClr val="575757"/>
              </a:solidFill>
            </a:endParaRPr>
          </a:p>
          <a:p>
            <a:pPr algn="ctr"/>
            <a:endParaRPr lang="en-US" dirty="0">
              <a:solidFill>
                <a:srgbClr val="575757"/>
              </a:solidFill>
            </a:endParaRPr>
          </a:p>
        </p:txBody>
      </p:sp>
      <p:pic>
        <p:nvPicPr>
          <p:cNvPr id="6" name="Picture 5"/>
          <p:cNvPicPr>
            <a:picLocks noChangeAspect="1"/>
          </p:cNvPicPr>
          <p:nvPr/>
        </p:nvPicPr>
        <p:blipFill>
          <a:blip r:embed="rId8"/>
          <a:stretch>
            <a:fillRect/>
          </a:stretch>
        </p:blipFill>
        <p:spPr>
          <a:xfrm>
            <a:off x="6380492" y="4836404"/>
            <a:ext cx="5781077" cy="1799557"/>
          </a:xfrm>
          <a:prstGeom prst="rect">
            <a:avLst/>
          </a:prstGeom>
        </p:spPr>
      </p:pic>
      <p:pic>
        <p:nvPicPr>
          <p:cNvPr id="7" name="Picture 6"/>
          <p:cNvPicPr>
            <a:picLocks noChangeAspect="1"/>
          </p:cNvPicPr>
          <p:nvPr/>
        </p:nvPicPr>
        <p:blipFill>
          <a:blip r:embed="rId9"/>
          <a:stretch>
            <a:fillRect/>
          </a:stretch>
        </p:blipFill>
        <p:spPr>
          <a:xfrm>
            <a:off x="3709668" y="4107698"/>
            <a:ext cx="2386932" cy="2232936"/>
          </a:xfrm>
          <a:prstGeom prst="rect">
            <a:avLst/>
          </a:prstGeom>
        </p:spPr>
      </p:pic>
      <p:pic>
        <p:nvPicPr>
          <p:cNvPr id="8" name="Picture 7"/>
          <p:cNvPicPr>
            <a:picLocks noChangeAspect="1"/>
          </p:cNvPicPr>
          <p:nvPr/>
        </p:nvPicPr>
        <p:blipFill>
          <a:blip r:embed="rId10"/>
          <a:stretch>
            <a:fillRect/>
          </a:stretch>
        </p:blipFill>
        <p:spPr>
          <a:xfrm>
            <a:off x="6380492" y="3388390"/>
            <a:ext cx="2278766" cy="1448014"/>
          </a:xfrm>
          <a:prstGeom prst="rect">
            <a:avLst/>
          </a:prstGeom>
        </p:spPr>
      </p:pic>
      <p:sp>
        <p:nvSpPr>
          <p:cNvPr id="9" name="Rectangle 8"/>
          <p:cNvSpPr/>
          <p:nvPr/>
        </p:nvSpPr>
        <p:spPr>
          <a:xfrm>
            <a:off x="8494005" y="3378993"/>
            <a:ext cx="3667564" cy="1457411"/>
          </a:xfrm>
          <a:prstGeom prst="rect">
            <a:avLst/>
          </a:prstGeom>
          <a:solidFill>
            <a:srgbClr val="FFFFFF"/>
          </a:solidFill>
          <a:ln w="952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smtClean="0">
              <a:solidFill>
                <a:srgbClr val="FFFFFF"/>
              </a:solidFill>
            </a:endParaRPr>
          </a:p>
        </p:txBody>
      </p:sp>
    </p:spTree>
    <p:extLst>
      <p:ext uri="{BB962C8B-B14F-4D97-AF65-F5344CB8AC3E}">
        <p14:creationId xmlns:p14="http://schemas.microsoft.com/office/powerpoint/2010/main" val="11619528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358438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0361" name="think-cell Slide" r:id="rId5" imgW="410" imgH="409" progId="TCLayout.ActiveDocument.1">
                  <p:embed/>
                </p:oleObj>
              </mc:Choice>
              <mc:Fallback>
                <p:oleObj name="think-cell Slide" r:id="rId5" imgW="410" imgH="409"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Title 2"/>
          <p:cNvSpPr>
            <a:spLocks noGrp="1"/>
          </p:cNvSpPr>
          <p:nvPr>
            <p:ph type="title"/>
          </p:nvPr>
        </p:nvSpPr>
        <p:spPr/>
        <p:txBody>
          <a:bodyPr/>
          <a:lstStyle/>
          <a:p>
            <a:r>
              <a:rPr lang="en-US" dirty="0" smtClean="0"/>
              <a:t>Playstyles</a:t>
            </a:r>
            <a:endParaRPr lang="en-US" dirty="0"/>
          </a:p>
        </p:txBody>
      </p:sp>
      <p:grpSp>
        <p:nvGrpSpPr>
          <p:cNvPr id="4" name="Group 3"/>
          <p:cNvGrpSpPr/>
          <p:nvPr/>
        </p:nvGrpSpPr>
        <p:grpSpPr>
          <a:xfrm>
            <a:off x="3539922" y="1510492"/>
            <a:ext cx="4510269" cy="4381021"/>
            <a:chOff x="3690394" y="2060290"/>
            <a:chExt cx="3669176" cy="3618735"/>
          </a:xfrm>
        </p:grpSpPr>
        <p:sp>
          <p:nvSpPr>
            <p:cNvPr id="5" name="Oval 4"/>
            <p:cNvSpPr/>
            <p:nvPr/>
          </p:nvSpPr>
          <p:spPr>
            <a:xfrm>
              <a:off x="4363649" y="2060290"/>
              <a:ext cx="2303362" cy="2343873"/>
            </a:xfrm>
            <a:prstGeom prst="ellipse">
              <a:avLst/>
            </a:prstGeom>
            <a:solidFill>
              <a:srgbClr val="29BA74">
                <a:alpha val="30000"/>
              </a:srgbClr>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smtClean="0">
                <a:solidFill>
                  <a:srgbClr val="FFFFFF"/>
                </a:solidFill>
              </a:endParaRPr>
            </a:p>
          </p:txBody>
        </p:sp>
        <p:sp>
          <p:nvSpPr>
            <p:cNvPr id="6" name="Oval 5"/>
            <p:cNvSpPr/>
            <p:nvPr/>
          </p:nvSpPr>
          <p:spPr>
            <a:xfrm>
              <a:off x="5056208" y="3323577"/>
              <a:ext cx="2303362" cy="2343873"/>
            </a:xfrm>
            <a:prstGeom prst="ellipse">
              <a:avLst/>
            </a:prstGeom>
            <a:solidFill>
              <a:srgbClr val="670F31">
                <a:alpha val="30000"/>
              </a:srgbClr>
            </a:solidFill>
            <a:ln w="9525" cap="rnd" cmpd="sng" algn="ctr">
              <a:solidFill>
                <a:srgbClr val="670F3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smtClean="0">
                <a:solidFill>
                  <a:srgbClr val="FFFFFF"/>
                </a:solidFill>
              </a:endParaRPr>
            </a:p>
          </p:txBody>
        </p:sp>
        <p:sp>
          <p:nvSpPr>
            <p:cNvPr id="7" name="Oval 6"/>
            <p:cNvSpPr/>
            <p:nvPr/>
          </p:nvSpPr>
          <p:spPr>
            <a:xfrm>
              <a:off x="3690394" y="3335152"/>
              <a:ext cx="2303362" cy="2343873"/>
            </a:xfrm>
            <a:prstGeom prst="ellipse">
              <a:avLst/>
            </a:prstGeom>
            <a:solidFill>
              <a:srgbClr val="6E6F73">
                <a:alpha val="30000"/>
              </a:srgbClr>
            </a:solidFill>
            <a:ln w="9525" cap="rnd" cmpd="sng" algn="ctr">
              <a:solidFill>
                <a:srgbClr val="6E6F73"/>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smtClean="0">
                <a:solidFill>
                  <a:srgbClr val="FFFFFF"/>
                </a:solidFill>
              </a:endParaRPr>
            </a:p>
          </p:txBody>
        </p:sp>
      </p:grpSp>
      <p:sp>
        <p:nvSpPr>
          <p:cNvPr id="8" name="TextBox 7"/>
          <p:cNvSpPr txBox="1"/>
          <p:nvPr/>
        </p:nvSpPr>
        <p:spPr>
          <a:xfrm>
            <a:off x="299494" y="1645760"/>
            <a:ext cx="4334720" cy="213552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indent="-285750">
              <a:buFont typeface="Arial" panose="020B0604020202020204" pitchFamily="34" charset="0"/>
              <a:buChar char="•"/>
            </a:pPr>
            <a:r>
              <a:rPr lang="en-US" dirty="0" smtClean="0">
                <a:solidFill>
                  <a:srgbClr val="575757"/>
                </a:solidFill>
              </a:rPr>
              <a:t>Baseliner: </a:t>
            </a:r>
            <a:endParaRPr lang="en-US" dirty="0" smtClean="0">
              <a:solidFill>
                <a:srgbClr val="575757"/>
              </a:solidFill>
            </a:endParaRPr>
          </a:p>
          <a:p>
            <a:pPr marL="285750" indent="-285750">
              <a:buFont typeface="Arial" panose="020B0604020202020204" pitchFamily="34" charset="0"/>
              <a:buChar char="•"/>
            </a:pPr>
            <a:r>
              <a:rPr lang="en-US" dirty="0" smtClean="0">
                <a:solidFill>
                  <a:srgbClr val="575757"/>
                </a:solidFill>
              </a:rPr>
              <a:t>Counterpuncher:</a:t>
            </a:r>
          </a:p>
          <a:p>
            <a:pPr marL="285750" indent="-285750">
              <a:buFont typeface="Arial" panose="020B0604020202020204" pitchFamily="34" charset="0"/>
              <a:buChar char="•"/>
            </a:pPr>
            <a:r>
              <a:rPr lang="en-US" dirty="0" smtClean="0">
                <a:solidFill>
                  <a:srgbClr val="575757"/>
                </a:solidFill>
              </a:rPr>
              <a:t>All Court:</a:t>
            </a:r>
            <a:endParaRPr lang="en-US" dirty="0" smtClean="0">
              <a:solidFill>
                <a:srgbClr val="575757"/>
              </a:solidFill>
            </a:endParaRPr>
          </a:p>
          <a:p>
            <a:pPr marL="285750" indent="-285750">
              <a:buFont typeface="Arial" panose="020B0604020202020204" pitchFamily="34" charset="0"/>
              <a:buChar char="•"/>
            </a:pPr>
            <a:r>
              <a:rPr lang="en-US" dirty="0" smtClean="0">
                <a:solidFill>
                  <a:srgbClr val="575757"/>
                </a:solidFill>
              </a:rPr>
              <a:t>Server &amp; </a:t>
            </a:r>
            <a:r>
              <a:rPr lang="en-US" dirty="0" err="1" smtClean="0">
                <a:solidFill>
                  <a:srgbClr val="575757"/>
                </a:solidFill>
              </a:rPr>
              <a:t>Volleyer</a:t>
            </a:r>
            <a:r>
              <a:rPr lang="en-US" dirty="0" smtClean="0">
                <a:solidFill>
                  <a:srgbClr val="575757"/>
                </a:solidFill>
              </a:rPr>
              <a:t>:</a:t>
            </a:r>
            <a:endParaRPr lang="en-US" dirty="0" smtClean="0">
              <a:solidFill>
                <a:srgbClr val="575757"/>
              </a:solidFill>
            </a:endParaRPr>
          </a:p>
          <a:p>
            <a:pPr marL="285750" indent="-285750">
              <a:buFont typeface="Arial" panose="020B0604020202020204" pitchFamily="34" charset="0"/>
              <a:buChar char="•"/>
            </a:pPr>
            <a:endParaRPr lang="en-US" dirty="0" smtClean="0">
              <a:solidFill>
                <a:srgbClr val="575757"/>
              </a:solidFill>
            </a:endParaRPr>
          </a:p>
          <a:p>
            <a:pPr algn="ctr"/>
            <a:endParaRPr lang="en-US" dirty="0">
              <a:solidFill>
                <a:srgbClr val="575757"/>
              </a:solidFill>
            </a:endParaRPr>
          </a:p>
        </p:txBody>
      </p:sp>
    </p:spTree>
    <p:extLst>
      <p:ext uri="{BB962C8B-B14F-4D97-AF65-F5344CB8AC3E}">
        <p14:creationId xmlns:p14="http://schemas.microsoft.com/office/powerpoint/2010/main" val="9063276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4951473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43" name="think-cell Slide" r:id="rId6" imgW="410" imgH="409" progId="TCLayout.ActiveDocument.1">
                  <p:embed/>
                </p:oleObj>
              </mc:Choice>
              <mc:Fallback>
                <p:oleObj name="think-cell Slide" r:id="rId6" imgW="410" imgH="409"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3400" dirty="0" smtClean="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5" name="Picture 4"/>
          <p:cNvPicPr>
            <a:picLocks noChangeAspect="1"/>
          </p:cNvPicPr>
          <p:nvPr/>
        </p:nvPicPr>
        <p:blipFill>
          <a:blip r:embed="rId8"/>
          <a:stretch>
            <a:fillRect/>
          </a:stretch>
        </p:blipFill>
        <p:spPr>
          <a:xfrm>
            <a:off x="2703609" y="1396674"/>
            <a:ext cx="6762750" cy="4505325"/>
          </a:xfrm>
          <a:prstGeom prst="rect">
            <a:avLst/>
          </a:prstGeom>
        </p:spPr>
      </p:pic>
    </p:spTree>
    <p:extLst>
      <p:ext uri="{BB962C8B-B14F-4D97-AF65-F5344CB8AC3E}">
        <p14:creationId xmlns:p14="http://schemas.microsoft.com/office/powerpoint/2010/main" val="8954159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0361796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5481" name="think-cell Slide" r:id="rId5" imgW="410" imgH="409" progId="TCLayout.ActiveDocument.1">
                  <p:embed/>
                </p:oleObj>
              </mc:Choice>
              <mc:Fallback>
                <p:oleObj name="think-cell Slide" r:id="rId5" imgW="410" imgH="409"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3200" dirty="0" smtClean="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 name="Title 1"/>
          <p:cNvSpPr>
            <a:spLocks noGrp="1"/>
          </p:cNvSpPr>
          <p:nvPr>
            <p:ph type="title"/>
          </p:nvPr>
        </p:nvSpPr>
        <p:spPr/>
        <p:txBody>
          <a:bodyPr/>
          <a:lstStyle/>
          <a:p>
            <a:r>
              <a:rPr lang="en-US" dirty="0" smtClean="0"/>
              <a:t>Random Forest</a:t>
            </a:r>
            <a:endParaRPr lang="en-US" dirty="0"/>
          </a:p>
        </p:txBody>
      </p:sp>
      <p:sp>
        <p:nvSpPr>
          <p:cNvPr id="5" name="TextBox 4"/>
          <p:cNvSpPr txBox="1"/>
          <p:nvPr/>
        </p:nvSpPr>
        <p:spPr>
          <a:xfrm>
            <a:off x="4404167" y="1996633"/>
            <a:ext cx="5769980" cy="347819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indent="-285750">
              <a:buFont typeface="Arial" panose="020B0604020202020204" pitchFamily="34" charset="0"/>
              <a:buChar char="•"/>
            </a:pPr>
            <a:r>
              <a:rPr lang="en-US" dirty="0" smtClean="0">
                <a:solidFill>
                  <a:srgbClr val="575757"/>
                </a:solidFill>
              </a:rPr>
              <a:t>Patricia</a:t>
            </a:r>
          </a:p>
          <a:p>
            <a:pPr marL="285750" indent="-285750">
              <a:buFont typeface="Arial" panose="020B0604020202020204" pitchFamily="34" charset="0"/>
              <a:buChar char="•"/>
            </a:pPr>
            <a:r>
              <a:rPr lang="en-US" dirty="0" smtClean="0">
                <a:solidFill>
                  <a:srgbClr val="575757"/>
                </a:solidFill>
              </a:rPr>
              <a:t>To</a:t>
            </a:r>
          </a:p>
          <a:p>
            <a:pPr marL="285750" indent="-285750">
              <a:buFont typeface="Arial" panose="020B0604020202020204" pitchFamily="34" charset="0"/>
              <a:buChar char="•"/>
            </a:pPr>
            <a:r>
              <a:rPr lang="en-US" dirty="0" smtClean="0">
                <a:solidFill>
                  <a:srgbClr val="575757"/>
                </a:solidFill>
              </a:rPr>
              <a:t>Add</a:t>
            </a:r>
          </a:p>
          <a:p>
            <a:pPr marL="285750" indent="-285750">
              <a:buFont typeface="Arial" panose="020B0604020202020204" pitchFamily="34" charset="0"/>
              <a:buChar char="•"/>
            </a:pPr>
            <a:r>
              <a:rPr lang="en-US" dirty="0" smtClean="0">
                <a:solidFill>
                  <a:srgbClr val="575757"/>
                </a:solidFill>
              </a:rPr>
              <a:t>Steps</a:t>
            </a:r>
          </a:p>
          <a:p>
            <a:pPr marL="285750" indent="-285750">
              <a:buFont typeface="Arial" panose="020B0604020202020204" pitchFamily="34" charset="0"/>
              <a:buChar char="•"/>
            </a:pPr>
            <a:endParaRPr lang="en-US" dirty="0" smtClean="0">
              <a:solidFill>
                <a:srgbClr val="575757"/>
              </a:solidFill>
            </a:endParaRPr>
          </a:p>
          <a:p>
            <a:pPr algn="ctr"/>
            <a:endParaRPr lang="en-US" dirty="0">
              <a:solidFill>
                <a:srgbClr val="575757"/>
              </a:solidFill>
            </a:endParaRPr>
          </a:p>
        </p:txBody>
      </p:sp>
      <p:grpSp>
        <p:nvGrpSpPr>
          <p:cNvPr id="6" name="Group 5"/>
          <p:cNvGrpSpPr>
            <a:grpSpLocks noChangeAspect="1"/>
          </p:cNvGrpSpPr>
          <p:nvPr/>
        </p:nvGrpSpPr>
        <p:grpSpPr>
          <a:xfrm>
            <a:off x="731520" y="3657600"/>
            <a:ext cx="1646238" cy="1644650"/>
            <a:chOff x="5273675" y="2606675"/>
            <a:chExt cx="1646238" cy="1644650"/>
          </a:xfrm>
        </p:grpSpPr>
        <p:sp>
          <p:nvSpPr>
            <p:cNvPr id="7" name="AutoShape 3"/>
            <p:cNvSpPr>
              <a:spLocks noChangeAspect="1" noChangeArrowheads="1" noTextEdit="1"/>
            </p:cNvSpPr>
            <p:nvPr/>
          </p:nvSpPr>
          <p:spPr bwMode="auto">
            <a:xfrm>
              <a:off x="5273675"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 name="Freeform 7"/>
            <p:cNvSpPr>
              <a:spLocks/>
            </p:cNvSpPr>
            <p:nvPr/>
          </p:nvSpPr>
          <p:spPr bwMode="auto">
            <a:xfrm>
              <a:off x="5462587" y="2776538"/>
              <a:ext cx="1270000" cy="1298575"/>
            </a:xfrm>
            <a:custGeom>
              <a:avLst/>
              <a:gdLst>
                <a:gd name="connsiteX0" fmla="*/ 706437 w 1270000"/>
                <a:gd name="connsiteY0" fmla="*/ 1049337 h 1298575"/>
                <a:gd name="connsiteX1" fmla="*/ 981905 w 1270000"/>
                <a:gd name="connsiteY1" fmla="*/ 1182122 h 1298575"/>
                <a:gd name="connsiteX2" fmla="*/ 1157462 w 1270000"/>
                <a:gd name="connsiteY2" fmla="*/ 1267332 h 1298575"/>
                <a:gd name="connsiteX3" fmla="*/ 1173162 w 1270000"/>
                <a:gd name="connsiteY3" fmla="*/ 1282953 h 1298575"/>
                <a:gd name="connsiteX4" fmla="*/ 1157462 w 1270000"/>
                <a:gd name="connsiteY4" fmla="*/ 1298575 h 1298575"/>
                <a:gd name="connsiteX5" fmla="*/ 963350 w 1270000"/>
                <a:gd name="connsiteY5" fmla="*/ 1207685 h 1298575"/>
                <a:gd name="connsiteX6" fmla="*/ 707865 w 1270000"/>
                <a:gd name="connsiteY6" fmla="*/ 1080581 h 1298575"/>
                <a:gd name="connsiteX7" fmla="*/ 706437 w 1270000"/>
                <a:gd name="connsiteY7" fmla="*/ 1049337 h 1298575"/>
                <a:gd name="connsiteX8" fmla="*/ 563562 w 1270000"/>
                <a:gd name="connsiteY8" fmla="*/ 1049337 h 1298575"/>
                <a:gd name="connsiteX9" fmla="*/ 562846 w 1270000"/>
                <a:gd name="connsiteY9" fmla="*/ 1081291 h 1298575"/>
                <a:gd name="connsiteX10" fmla="*/ 307293 w 1270000"/>
                <a:gd name="connsiteY10" fmla="*/ 1207685 h 1298575"/>
                <a:gd name="connsiteX11" fmla="*/ 112585 w 1270000"/>
                <a:gd name="connsiteY11" fmla="*/ 1298575 h 1298575"/>
                <a:gd name="connsiteX12" fmla="*/ 96837 w 1270000"/>
                <a:gd name="connsiteY12" fmla="*/ 1282953 h 1298575"/>
                <a:gd name="connsiteX13" fmla="*/ 112585 w 1270000"/>
                <a:gd name="connsiteY13" fmla="*/ 1267332 h 1298575"/>
                <a:gd name="connsiteX14" fmla="*/ 288681 w 1270000"/>
                <a:gd name="connsiteY14" fmla="*/ 1182122 h 1298575"/>
                <a:gd name="connsiteX15" fmla="*/ 563562 w 1270000"/>
                <a:gd name="connsiteY15" fmla="*/ 1049337 h 1298575"/>
                <a:gd name="connsiteX16" fmla="*/ 1237456 w 1270000"/>
                <a:gd name="connsiteY16" fmla="*/ 927100 h 1298575"/>
                <a:gd name="connsiteX17" fmla="*/ 1263650 w 1270000"/>
                <a:gd name="connsiteY17" fmla="*/ 952500 h 1298575"/>
                <a:gd name="connsiteX18" fmla="*/ 1237456 w 1270000"/>
                <a:gd name="connsiteY18" fmla="*/ 977900 h 1298575"/>
                <a:gd name="connsiteX19" fmla="*/ 1211262 w 1270000"/>
                <a:gd name="connsiteY19" fmla="*/ 952500 h 1298575"/>
                <a:gd name="connsiteX20" fmla="*/ 1237456 w 1270000"/>
                <a:gd name="connsiteY20" fmla="*/ 927100 h 1298575"/>
                <a:gd name="connsiteX21" fmla="*/ 32544 w 1270000"/>
                <a:gd name="connsiteY21" fmla="*/ 927100 h 1298575"/>
                <a:gd name="connsiteX22" fmla="*/ 58738 w 1270000"/>
                <a:gd name="connsiteY22" fmla="*/ 952500 h 1298575"/>
                <a:gd name="connsiteX23" fmla="*/ 32544 w 1270000"/>
                <a:gd name="connsiteY23" fmla="*/ 977900 h 1298575"/>
                <a:gd name="connsiteX24" fmla="*/ 6350 w 1270000"/>
                <a:gd name="connsiteY24" fmla="*/ 952500 h 1298575"/>
                <a:gd name="connsiteX25" fmla="*/ 32544 w 1270000"/>
                <a:gd name="connsiteY25" fmla="*/ 927100 h 1298575"/>
                <a:gd name="connsiteX26" fmla="*/ 1160462 w 1270000"/>
                <a:gd name="connsiteY26" fmla="*/ 884237 h 1298575"/>
                <a:gd name="connsiteX27" fmla="*/ 1185862 w 1270000"/>
                <a:gd name="connsiteY27" fmla="*/ 909637 h 1298575"/>
                <a:gd name="connsiteX28" fmla="*/ 1160462 w 1270000"/>
                <a:gd name="connsiteY28" fmla="*/ 935037 h 1298575"/>
                <a:gd name="connsiteX29" fmla="*/ 1135062 w 1270000"/>
                <a:gd name="connsiteY29" fmla="*/ 909637 h 1298575"/>
                <a:gd name="connsiteX30" fmla="*/ 1160462 w 1270000"/>
                <a:gd name="connsiteY30" fmla="*/ 884237 h 1298575"/>
                <a:gd name="connsiteX31" fmla="*/ 109537 w 1270000"/>
                <a:gd name="connsiteY31" fmla="*/ 884237 h 1298575"/>
                <a:gd name="connsiteX32" fmla="*/ 134937 w 1270000"/>
                <a:gd name="connsiteY32" fmla="*/ 909637 h 1298575"/>
                <a:gd name="connsiteX33" fmla="*/ 109537 w 1270000"/>
                <a:gd name="connsiteY33" fmla="*/ 935037 h 1298575"/>
                <a:gd name="connsiteX34" fmla="*/ 84137 w 1270000"/>
                <a:gd name="connsiteY34" fmla="*/ 909637 h 1298575"/>
                <a:gd name="connsiteX35" fmla="*/ 109537 w 1270000"/>
                <a:gd name="connsiteY35" fmla="*/ 884237 h 1298575"/>
                <a:gd name="connsiteX36" fmla="*/ 925528 w 1270000"/>
                <a:gd name="connsiteY36" fmla="*/ 843383 h 1298575"/>
                <a:gd name="connsiteX37" fmla="*/ 986697 w 1270000"/>
                <a:gd name="connsiteY37" fmla="*/ 851580 h 1298575"/>
                <a:gd name="connsiteX38" fmla="*/ 1103313 w 1270000"/>
                <a:gd name="connsiteY38" fmla="*/ 988429 h 1298575"/>
                <a:gd name="connsiteX39" fmla="*/ 925170 w 1270000"/>
                <a:gd name="connsiteY39" fmla="*/ 1015513 h 1298575"/>
                <a:gd name="connsiteX40" fmla="*/ 835025 w 1270000"/>
                <a:gd name="connsiteY40" fmla="*/ 934972 h 1298575"/>
                <a:gd name="connsiteX41" fmla="*/ 932324 w 1270000"/>
                <a:gd name="connsiteY41" fmla="*/ 967046 h 1298575"/>
                <a:gd name="connsiteX42" fmla="*/ 944487 w 1270000"/>
                <a:gd name="connsiteY42" fmla="*/ 968472 h 1298575"/>
                <a:gd name="connsiteX43" fmla="*/ 981689 w 1270000"/>
                <a:gd name="connsiteY43" fmla="*/ 942812 h 1298575"/>
                <a:gd name="connsiteX44" fmla="*/ 983120 w 1270000"/>
                <a:gd name="connsiteY44" fmla="*/ 940674 h 1298575"/>
                <a:gd name="connsiteX45" fmla="*/ 983836 w 1270000"/>
                <a:gd name="connsiteY45" fmla="*/ 937823 h 1298575"/>
                <a:gd name="connsiteX46" fmla="*/ 960942 w 1270000"/>
                <a:gd name="connsiteY46" fmla="*/ 892920 h 1298575"/>
                <a:gd name="connsiteX47" fmla="*/ 868651 w 1270000"/>
                <a:gd name="connsiteY47" fmla="*/ 854431 h 1298575"/>
                <a:gd name="connsiteX48" fmla="*/ 925528 w 1270000"/>
                <a:gd name="connsiteY48" fmla="*/ 843383 h 1298575"/>
                <a:gd name="connsiteX49" fmla="*/ 351885 w 1270000"/>
                <a:gd name="connsiteY49" fmla="*/ 843383 h 1298575"/>
                <a:gd name="connsiteX50" fmla="*/ 408542 w 1270000"/>
                <a:gd name="connsiteY50" fmla="*/ 854431 h 1298575"/>
                <a:gd name="connsiteX51" fmla="*/ 314470 w 1270000"/>
                <a:gd name="connsiteY51" fmla="*/ 892920 h 1298575"/>
                <a:gd name="connsiteX52" fmla="*/ 313044 w 1270000"/>
                <a:gd name="connsiteY52" fmla="*/ 894345 h 1298575"/>
                <a:gd name="connsiteX53" fmla="*/ 293090 w 1270000"/>
                <a:gd name="connsiteY53" fmla="*/ 937823 h 1298575"/>
                <a:gd name="connsiteX54" fmla="*/ 293802 w 1270000"/>
                <a:gd name="connsiteY54" fmla="*/ 940674 h 1298575"/>
                <a:gd name="connsiteX55" fmla="*/ 294515 w 1270000"/>
                <a:gd name="connsiteY55" fmla="*/ 942812 h 1298575"/>
                <a:gd name="connsiteX56" fmla="*/ 332286 w 1270000"/>
                <a:gd name="connsiteY56" fmla="*/ 968472 h 1298575"/>
                <a:gd name="connsiteX57" fmla="*/ 344402 w 1270000"/>
                <a:gd name="connsiteY57" fmla="*/ 967046 h 1298575"/>
                <a:gd name="connsiteX58" fmla="*/ 441325 w 1270000"/>
                <a:gd name="connsiteY58" fmla="*/ 934972 h 1298575"/>
                <a:gd name="connsiteX59" fmla="*/ 352954 w 1270000"/>
                <a:gd name="connsiteY59" fmla="*/ 1015513 h 1298575"/>
                <a:gd name="connsiteX60" fmla="*/ 176212 w 1270000"/>
                <a:gd name="connsiteY60" fmla="*/ 988429 h 1298575"/>
                <a:gd name="connsiteX61" fmla="*/ 290952 w 1270000"/>
                <a:gd name="connsiteY61" fmla="*/ 851580 h 1298575"/>
                <a:gd name="connsiteX62" fmla="*/ 351885 w 1270000"/>
                <a:gd name="connsiteY62" fmla="*/ 843383 h 1298575"/>
                <a:gd name="connsiteX63" fmla="*/ 1245306 w 1270000"/>
                <a:gd name="connsiteY63" fmla="*/ 830262 h 1298575"/>
                <a:gd name="connsiteX64" fmla="*/ 1270000 w 1270000"/>
                <a:gd name="connsiteY64" fmla="*/ 855662 h 1298575"/>
                <a:gd name="connsiteX65" fmla="*/ 1245306 w 1270000"/>
                <a:gd name="connsiteY65" fmla="*/ 881062 h 1298575"/>
                <a:gd name="connsiteX66" fmla="*/ 1219200 w 1270000"/>
                <a:gd name="connsiteY66" fmla="*/ 855662 h 1298575"/>
                <a:gd name="connsiteX67" fmla="*/ 1245306 w 1270000"/>
                <a:gd name="connsiteY67" fmla="*/ 830262 h 1298575"/>
                <a:gd name="connsiteX68" fmla="*/ 24694 w 1270000"/>
                <a:gd name="connsiteY68" fmla="*/ 830262 h 1298575"/>
                <a:gd name="connsiteX69" fmla="*/ 50800 w 1270000"/>
                <a:gd name="connsiteY69" fmla="*/ 855662 h 1298575"/>
                <a:gd name="connsiteX70" fmla="*/ 24694 w 1270000"/>
                <a:gd name="connsiteY70" fmla="*/ 881062 h 1298575"/>
                <a:gd name="connsiteX71" fmla="*/ 0 w 1270000"/>
                <a:gd name="connsiteY71" fmla="*/ 855662 h 1298575"/>
                <a:gd name="connsiteX72" fmla="*/ 24694 w 1270000"/>
                <a:gd name="connsiteY72" fmla="*/ 830262 h 1298575"/>
                <a:gd name="connsiteX73" fmla="*/ 1121998 w 1270000"/>
                <a:gd name="connsiteY73" fmla="*/ 670836 h 1298575"/>
                <a:gd name="connsiteX74" fmla="*/ 1152891 w 1270000"/>
                <a:gd name="connsiteY74" fmla="*/ 671739 h 1298575"/>
                <a:gd name="connsiteX75" fmla="*/ 1265238 w 1270000"/>
                <a:gd name="connsiteY75" fmla="*/ 715072 h 1298575"/>
                <a:gd name="connsiteX76" fmla="*/ 1142055 w 1270000"/>
                <a:gd name="connsiteY76" fmla="*/ 845607 h 1298575"/>
                <a:gd name="connsiteX77" fmla="*/ 988254 w 1270000"/>
                <a:gd name="connsiteY77" fmla="*/ 814935 h 1298575"/>
                <a:gd name="connsiteX78" fmla="*/ 1123542 w 1270000"/>
                <a:gd name="connsiteY78" fmla="*/ 750024 h 1298575"/>
                <a:gd name="connsiteX79" fmla="*/ 974725 w 1270000"/>
                <a:gd name="connsiteY79" fmla="*/ 784976 h 1298575"/>
                <a:gd name="connsiteX80" fmla="*/ 1090788 w 1270000"/>
                <a:gd name="connsiteY80" fmla="*/ 676554 h 1298575"/>
                <a:gd name="connsiteX81" fmla="*/ 1121998 w 1270000"/>
                <a:gd name="connsiteY81" fmla="*/ 670836 h 1298575"/>
                <a:gd name="connsiteX82" fmla="*/ 148637 w 1270000"/>
                <a:gd name="connsiteY82" fmla="*/ 670836 h 1298575"/>
                <a:gd name="connsiteX83" fmla="*/ 179736 w 1270000"/>
                <a:gd name="connsiteY83" fmla="*/ 676554 h 1298575"/>
                <a:gd name="connsiteX84" fmla="*/ 296862 w 1270000"/>
                <a:gd name="connsiteY84" fmla="*/ 784976 h 1298575"/>
                <a:gd name="connsiteX85" fmla="*/ 146170 w 1270000"/>
                <a:gd name="connsiteY85" fmla="*/ 750024 h 1298575"/>
                <a:gd name="connsiteX86" fmla="*/ 283292 w 1270000"/>
                <a:gd name="connsiteY86" fmla="*/ 814935 h 1298575"/>
                <a:gd name="connsiteX87" fmla="*/ 129029 w 1270000"/>
                <a:gd name="connsiteY87" fmla="*/ 845607 h 1298575"/>
                <a:gd name="connsiteX88" fmla="*/ 4762 w 1270000"/>
                <a:gd name="connsiteY88" fmla="*/ 715072 h 1298575"/>
                <a:gd name="connsiteX89" fmla="*/ 148637 w 1270000"/>
                <a:gd name="connsiteY89" fmla="*/ 670836 h 1298575"/>
                <a:gd name="connsiteX90" fmla="*/ 1240543 w 1270000"/>
                <a:gd name="connsiteY90" fmla="*/ 608012 h 1298575"/>
                <a:gd name="connsiteX91" fmla="*/ 1265237 w 1270000"/>
                <a:gd name="connsiteY91" fmla="*/ 633412 h 1298575"/>
                <a:gd name="connsiteX92" fmla="*/ 1240543 w 1270000"/>
                <a:gd name="connsiteY92" fmla="*/ 658812 h 1298575"/>
                <a:gd name="connsiteX93" fmla="*/ 1214437 w 1270000"/>
                <a:gd name="connsiteY93" fmla="*/ 633412 h 1298575"/>
                <a:gd name="connsiteX94" fmla="*/ 1240543 w 1270000"/>
                <a:gd name="connsiteY94" fmla="*/ 608012 h 1298575"/>
                <a:gd name="connsiteX95" fmla="*/ 29456 w 1270000"/>
                <a:gd name="connsiteY95" fmla="*/ 608012 h 1298575"/>
                <a:gd name="connsiteX96" fmla="*/ 55562 w 1270000"/>
                <a:gd name="connsiteY96" fmla="*/ 633412 h 1298575"/>
                <a:gd name="connsiteX97" fmla="*/ 29456 w 1270000"/>
                <a:gd name="connsiteY97" fmla="*/ 658812 h 1298575"/>
                <a:gd name="connsiteX98" fmla="*/ 4762 w 1270000"/>
                <a:gd name="connsiteY98" fmla="*/ 633412 h 1298575"/>
                <a:gd name="connsiteX99" fmla="*/ 29456 w 1270000"/>
                <a:gd name="connsiteY99" fmla="*/ 608012 h 1298575"/>
                <a:gd name="connsiteX100" fmla="*/ 1215593 w 1270000"/>
                <a:gd name="connsiteY100" fmla="*/ 470615 h 1298575"/>
                <a:gd name="connsiteX101" fmla="*/ 1194835 w 1270000"/>
                <a:gd name="connsiteY101" fmla="*/ 592117 h 1298575"/>
                <a:gd name="connsiteX102" fmla="*/ 1095340 w 1270000"/>
                <a:gd name="connsiteY102" fmla="*/ 635000 h 1298575"/>
                <a:gd name="connsiteX103" fmla="*/ 1147593 w 1270000"/>
                <a:gd name="connsiteY103" fmla="*/ 544945 h 1298575"/>
                <a:gd name="connsiteX104" fmla="*/ 1075298 w 1270000"/>
                <a:gd name="connsiteY104" fmla="*/ 623564 h 1298575"/>
                <a:gd name="connsiteX105" fmla="*/ 1100350 w 1270000"/>
                <a:gd name="connsiteY105" fmla="*/ 516357 h 1298575"/>
                <a:gd name="connsiteX106" fmla="*/ 1215593 w 1270000"/>
                <a:gd name="connsiteY106" fmla="*/ 470615 h 1298575"/>
                <a:gd name="connsiteX107" fmla="*/ 46434 w 1270000"/>
                <a:gd name="connsiteY107" fmla="*/ 470615 h 1298575"/>
                <a:gd name="connsiteX108" fmla="*/ 159306 w 1270000"/>
                <a:gd name="connsiteY108" fmla="*/ 516357 h 1298575"/>
                <a:gd name="connsiteX109" fmla="*/ 184309 w 1270000"/>
                <a:gd name="connsiteY109" fmla="*/ 623564 h 1298575"/>
                <a:gd name="connsiteX110" fmla="*/ 112871 w 1270000"/>
                <a:gd name="connsiteY110" fmla="*/ 544945 h 1298575"/>
                <a:gd name="connsiteX111" fmla="*/ 164306 w 1270000"/>
                <a:gd name="connsiteY111" fmla="*/ 635000 h 1298575"/>
                <a:gd name="connsiteX112" fmla="*/ 65722 w 1270000"/>
                <a:gd name="connsiteY112" fmla="*/ 592117 h 1298575"/>
                <a:gd name="connsiteX113" fmla="*/ 46434 w 1270000"/>
                <a:gd name="connsiteY113" fmla="*/ 470615 h 1298575"/>
                <a:gd name="connsiteX114" fmla="*/ 1017878 w 1270000"/>
                <a:gd name="connsiteY114" fmla="*/ 452437 h 1298575"/>
                <a:gd name="connsiteX115" fmla="*/ 990658 w 1270000"/>
                <a:gd name="connsiteY115" fmla="*/ 682136 h 1298575"/>
                <a:gd name="connsiteX116" fmla="*/ 848112 w 1270000"/>
                <a:gd name="connsiteY116" fmla="*/ 766762 h 1298575"/>
                <a:gd name="connsiteX117" fmla="*/ 923325 w 1270000"/>
                <a:gd name="connsiteY117" fmla="*/ 655824 h 1298575"/>
                <a:gd name="connsiteX118" fmla="*/ 930488 w 1270000"/>
                <a:gd name="connsiteY118" fmla="*/ 623111 h 1298575"/>
                <a:gd name="connsiteX119" fmla="*/ 911148 w 1270000"/>
                <a:gd name="connsiteY119" fmla="*/ 594665 h 1298575"/>
                <a:gd name="connsiteX120" fmla="*/ 886077 w 1270000"/>
                <a:gd name="connsiteY120" fmla="*/ 586843 h 1298575"/>
                <a:gd name="connsiteX121" fmla="*/ 851694 w 1270000"/>
                <a:gd name="connsiteY121" fmla="*/ 603910 h 1298575"/>
                <a:gd name="connsiteX122" fmla="*/ 766452 w 1270000"/>
                <a:gd name="connsiteY122" fmla="*/ 709870 h 1298575"/>
                <a:gd name="connsiteX123" fmla="*/ 804417 w 1270000"/>
                <a:gd name="connsiteY123" fmla="*/ 547730 h 1298575"/>
                <a:gd name="connsiteX124" fmla="*/ 1017878 w 1270000"/>
                <a:gd name="connsiteY124" fmla="*/ 452437 h 1298575"/>
                <a:gd name="connsiteX125" fmla="*/ 253592 w 1270000"/>
                <a:gd name="connsiteY125" fmla="*/ 452437 h 1298575"/>
                <a:gd name="connsiteX126" fmla="*/ 465703 w 1270000"/>
                <a:gd name="connsiteY126" fmla="*/ 547946 h 1298575"/>
                <a:gd name="connsiteX127" fmla="*/ 503555 w 1270000"/>
                <a:gd name="connsiteY127" fmla="*/ 711880 h 1298575"/>
                <a:gd name="connsiteX128" fmla="*/ 417853 w 1270000"/>
                <a:gd name="connsiteY128" fmla="*/ 604254 h 1298575"/>
                <a:gd name="connsiteX129" fmla="*/ 382858 w 1270000"/>
                <a:gd name="connsiteY129" fmla="*/ 587148 h 1298575"/>
                <a:gd name="connsiteX130" fmla="*/ 358576 w 1270000"/>
                <a:gd name="connsiteY130" fmla="*/ 594988 h 1298575"/>
                <a:gd name="connsiteX131" fmla="*/ 338579 w 1270000"/>
                <a:gd name="connsiteY131" fmla="*/ 623498 h 1298575"/>
                <a:gd name="connsiteX132" fmla="*/ 345721 w 1270000"/>
                <a:gd name="connsiteY132" fmla="*/ 656285 h 1298575"/>
                <a:gd name="connsiteX133" fmla="*/ 419996 w 1270000"/>
                <a:gd name="connsiteY133" fmla="*/ 766762 h 1298575"/>
                <a:gd name="connsiteX134" fmla="*/ 280731 w 1270000"/>
                <a:gd name="connsiteY134" fmla="*/ 682657 h 1298575"/>
                <a:gd name="connsiteX135" fmla="*/ 253592 w 1270000"/>
                <a:gd name="connsiteY135" fmla="*/ 452437 h 1298575"/>
                <a:gd name="connsiteX136" fmla="*/ 1122720 w 1270000"/>
                <a:gd name="connsiteY136" fmla="*/ 379412 h 1298575"/>
                <a:gd name="connsiteX137" fmla="*/ 1147762 w 1270000"/>
                <a:gd name="connsiteY137" fmla="*/ 404812 h 1298575"/>
                <a:gd name="connsiteX138" fmla="*/ 1122720 w 1270000"/>
                <a:gd name="connsiteY138" fmla="*/ 430212 h 1298575"/>
                <a:gd name="connsiteX139" fmla="*/ 1096962 w 1270000"/>
                <a:gd name="connsiteY139" fmla="*/ 404812 h 1298575"/>
                <a:gd name="connsiteX140" fmla="*/ 1122720 w 1270000"/>
                <a:gd name="connsiteY140" fmla="*/ 379412 h 1298575"/>
                <a:gd name="connsiteX141" fmla="*/ 147279 w 1270000"/>
                <a:gd name="connsiteY141" fmla="*/ 379412 h 1298575"/>
                <a:gd name="connsiteX142" fmla="*/ 173037 w 1270000"/>
                <a:gd name="connsiteY142" fmla="*/ 404812 h 1298575"/>
                <a:gd name="connsiteX143" fmla="*/ 147279 w 1270000"/>
                <a:gd name="connsiteY143" fmla="*/ 430212 h 1298575"/>
                <a:gd name="connsiteX144" fmla="*/ 122237 w 1270000"/>
                <a:gd name="connsiteY144" fmla="*/ 404812 h 1298575"/>
                <a:gd name="connsiteX145" fmla="*/ 147279 w 1270000"/>
                <a:gd name="connsiteY145" fmla="*/ 379412 h 1298575"/>
                <a:gd name="connsiteX146" fmla="*/ 1178719 w 1270000"/>
                <a:gd name="connsiteY146" fmla="*/ 322262 h 1298575"/>
                <a:gd name="connsiteX147" fmla="*/ 1204913 w 1270000"/>
                <a:gd name="connsiteY147" fmla="*/ 348456 h 1298575"/>
                <a:gd name="connsiteX148" fmla="*/ 1178719 w 1270000"/>
                <a:gd name="connsiteY148" fmla="*/ 374650 h 1298575"/>
                <a:gd name="connsiteX149" fmla="*/ 1152525 w 1270000"/>
                <a:gd name="connsiteY149" fmla="*/ 348456 h 1298575"/>
                <a:gd name="connsiteX150" fmla="*/ 1178719 w 1270000"/>
                <a:gd name="connsiteY150" fmla="*/ 322262 h 1298575"/>
                <a:gd name="connsiteX151" fmla="*/ 91281 w 1270000"/>
                <a:gd name="connsiteY151" fmla="*/ 322262 h 1298575"/>
                <a:gd name="connsiteX152" fmla="*/ 117475 w 1270000"/>
                <a:gd name="connsiteY152" fmla="*/ 348456 h 1298575"/>
                <a:gd name="connsiteX153" fmla="*/ 91281 w 1270000"/>
                <a:gd name="connsiteY153" fmla="*/ 374650 h 1298575"/>
                <a:gd name="connsiteX154" fmla="*/ 65087 w 1270000"/>
                <a:gd name="connsiteY154" fmla="*/ 348456 h 1298575"/>
                <a:gd name="connsiteX155" fmla="*/ 91281 w 1270000"/>
                <a:gd name="connsiteY155" fmla="*/ 322262 h 1298575"/>
                <a:gd name="connsiteX156" fmla="*/ 358110 w 1270000"/>
                <a:gd name="connsiteY156" fmla="*/ 306784 h 1298575"/>
                <a:gd name="connsiteX157" fmla="*/ 369530 w 1270000"/>
                <a:gd name="connsiteY157" fmla="*/ 307499 h 1298575"/>
                <a:gd name="connsiteX158" fmla="*/ 610776 w 1270000"/>
                <a:gd name="connsiteY158" fmla="*/ 610449 h 1298575"/>
                <a:gd name="connsiteX159" fmla="*/ 620054 w 1270000"/>
                <a:gd name="connsiteY159" fmla="*/ 366088 h 1298575"/>
                <a:gd name="connsiteX160" fmla="*/ 633616 w 1270000"/>
                <a:gd name="connsiteY160" fmla="*/ 353227 h 1298575"/>
                <a:gd name="connsiteX161" fmla="*/ 646463 w 1270000"/>
                <a:gd name="connsiteY161" fmla="*/ 366088 h 1298575"/>
                <a:gd name="connsiteX162" fmla="*/ 656456 w 1270000"/>
                <a:gd name="connsiteY162" fmla="*/ 611878 h 1298575"/>
                <a:gd name="connsiteX163" fmla="*/ 898416 w 1270000"/>
                <a:gd name="connsiteY163" fmla="*/ 307499 h 1298575"/>
                <a:gd name="connsiteX164" fmla="*/ 909836 w 1270000"/>
                <a:gd name="connsiteY164" fmla="*/ 306784 h 1298575"/>
                <a:gd name="connsiteX165" fmla="*/ 911263 w 1270000"/>
                <a:gd name="connsiteY165" fmla="*/ 317502 h 1298575"/>
                <a:gd name="connsiteX166" fmla="*/ 659311 w 1270000"/>
                <a:gd name="connsiteY166" fmla="*/ 690474 h 1298575"/>
                <a:gd name="connsiteX167" fmla="*/ 667162 w 1270000"/>
                <a:gd name="connsiteY167" fmla="*/ 887677 h 1298575"/>
                <a:gd name="connsiteX168" fmla="*/ 876290 w 1270000"/>
                <a:gd name="connsiteY168" fmla="*/ 623310 h 1298575"/>
                <a:gd name="connsiteX169" fmla="*/ 893420 w 1270000"/>
                <a:gd name="connsiteY169" fmla="*/ 621167 h 1298575"/>
                <a:gd name="connsiteX170" fmla="*/ 897702 w 1270000"/>
                <a:gd name="connsiteY170" fmla="*/ 638315 h 1298575"/>
                <a:gd name="connsiteX171" fmla="*/ 760663 w 1270000"/>
                <a:gd name="connsiteY171" fmla="*/ 842663 h 1298575"/>
                <a:gd name="connsiteX172" fmla="*/ 948378 w 1270000"/>
                <a:gd name="connsiteY172" fmla="*/ 921973 h 1298575"/>
                <a:gd name="connsiteX173" fmla="*/ 953374 w 1270000"/>
                <a:gd name="connsiteY173" fmla="*/ 931976 h 1298575"/>
                <a:gd name="connsiteX174" fmla="*/ 942668 w 1270000"/>
                <a:gd name="connsiteY174" fmla="*/ 937692 h 1298575"/>
                <a:gd name="connsiteX175" fmla="*/ 741392 w 1270000"/>
                <a:gd name="connsiteY175" fmla="*/ 871243 h 1298575"/>
                <a:gd name="connsiteX176" fmla="*/ 670730 w 1270000"/>
                <a:gd name="connsiteY176" fmla="*/ 976275 h 1298575"/>
                <a:gd name="connsiteX177" fmla="*/ 677154 w 1270000"/>
                <a:gd name="connsiteY177" fmla="*/ 1130609 h 1298575"/>
                <a:gd name="connsiteX178" fmla="*/ 635043 w 1270000"/>
                <a:gd name="connsiteY178" fmla="*/ 1176337 h 1298575"/>
                <a:gd name="connsiteX179" fmla="*/ 590077 w 1270000"/>
                <a:gd name="connsiteY179" fmla="*/ 1134181 h 1298575"/>
                <a:gd name="connsiteX180" fmla="*/ 590077 w 1270000"/>
                <a:gd name="connsiteY180" fmla="*/ 1130609 h 1298575"/>
                <a:gd name="connsiteX181" fmla="*/ 592218 w 1270000"/>
                <a:gd name="connsiteY181" fmla="*/ 1093455 h 1298575"/>
                <a:gd name="connsiteX182" fmla="*/ 596501 w 1270000"/>
                <a:gd name="connsiteY182" fmla="*/ 971988 h 1298575"/>
                <a:gd name="connsiteX183" fmla="*/ 530122 w 1270000"/>
                <a:gd name="connsiteY183" fmla="*/ 873387 h 1298575"/>
                <a:gd name="connsiteX184" fmla="*/ 335270 w 1270000"/>
                <a:gd name="connsiteY184" fmla="*/ 937692 h 1298575"/>
                <a:gd name="connsiteX185" fmla="*/ 324563 w 1270000"/>
                <a:gd name="connsiteY185" fmla="*/ 931976 h 1298575"/>
                <a:gd name="connsiteX186" fmla="*/ 329560 w 1270000"/>
                <a:gd name="connsiteY186" fmla="*/ 921973 h 1298575"/>
                <a:gd name="connsiteX187" fmla="*/ 511565 w 1270000"/>
                <a:gd name="connsiteY187" fmla="*/ 846236 h 1298575"/>
                <a:gd name="connsiteX188" fmla="*/ 372385 w 1270000"/>
                <a:gd name="connsiteY188" fmla="*/ 638315 h 1298575"/>
                <a:gd name="connsiteX189" fmla="*/ 376667 w 1270000"/>
                <a:gd name="connsiteY189" fmla="*/ 621167 h 1298575"/>
                <a:gd name="connsiteX190" fmla="*/ 393797 w 1270000"/>
                <a:gd name="connsiteY190" fmla="*/ 623310 h 1298575"/>
                <a:gd name="connsiteX191" fmla="*/ 600070 w 1270000"/>
                <a:gd name="connsiteY191" fmla="*/ 883390 h 1298575"/>
                <a:gd name="connsiteX192" fmla="*/ 607207 w 1270000"/>
                <a:gd name="connsiteY192" fmla="*/ 689045 h 1298575"/>
                <a:gd name="connsiteX193" fmla="*/ 356682 w 1270000"/>
                <a:gd name="connsiteY193" fmla="*/ 317502 h 1298575"/>
                <a:gd name="connsiteX194" fmla="*/ 358110 w 1270000"/>
                <a:gd name="connsiteY194" fmla="*/ 306784 h 1298575"/>
                <a:gd name="connsiteX195" fmla="*/ 1085850 w 1270000"/>
                <a:gd name="connsiteY195" fmla="*/ 296862 h 1298575"/>
                <a:gd name="connsiteX196" fmla="*/ 1111250 w 1270000"/>
                <a:gd name="connsiteY196" fmla="*/ 322262 h 1298575"/>
                <a:gd name="connsiteX197" fmla="*/ 1085850 w 1270000"/>
                <a:gd name="connsiteY197" fmla="*/ 347662 h 1298575"/>
                <a:gd name="connsiteX198" fmla="*/ 1060450 w 1270000"/>
                <a:gd name="connsiteY198" fmla="*/ 322262 h 1298575"/>
                <a:gd name="connsiteX199" fmla="*/ 1085850 w 1270000"/>
                <a:gd name="connsiteY199" fmla="*/ 296862 h 1298575"/>
                <a:gd name="connsiteX200" fmla="*/ 184150 w 1270000"/>
                <a:gd name="connsiteY200" fmla="*/ 296862 h 1298575"/>
                <a:gd name="connsiteX201" fmla="*/ 209550 w 1270000"/>
                <a:gd name="connsiteY201" fmla="*/ 322262 h 1298575"/>
                <a:gd name="connsiteX202" fmla="*/ 184150 w 1270000"/>
                <a:gd name="connsiteY202" fmla="*/ 347662 h 1298575"/>
                <a:gd name="connsiteX203" fmla="*/ 158750 w 1270000"/>
                <a:gd name="connsiteY203" fmla="*/ 322262 h 1298575"/>
                <a:gd name="connsiteX204" fmla="*/ 184150 w 1270000"/>
                <a:gd name="connsiteY204" fmla="*/ 296862 h 1298575"/>
                <a:gd name="connsiteX205" fmla="*/ 1135062 w 1270000"/>
                <a:gd name="connsiteY205" fmla="*/ 241300 h 1298575"/>
                <a:gd name="connsiteX206" fmla="*/ 1160462 w 1270000"/>
                <a:gd name="connsiteY206" fmla="*/ 266700 h 1298575"/>
                <a:gd name="connsiteX207" fmla="*/ 1135062 w 1270000"/>
                <a:gd name="connsiteY207" fmla="*/ 292100 h 1298575"/>
                <a:gd name="connsiteX208" fmla="*/ 1109662 w 1270000"/>
                <a:gd name="connsiteY208" fmla="*/ 266700 h 1298575"/>
                <a:gd name="connsiteX209" fmla="*/ 1135062 w 1270000"/>
                <a:gd name="connsiteY209" fmla="*/ 241300 h 1298575"/>
                <a:gd name="connsiteX210" fmla="*/ 134937 w 1270000"/>
                <a:gd name="connsiteY210" fmla="*/ 241300 h 1298575"/>
                <a:gd name="connsiteX211" fmla="*/ 160337 w 1270000"/>
                <a:gd name="connsiteY211" fmla="*/ 266700 h 1298575"/>
                <a:gd name="connsiteX212" fmla="*/ 134937 w 1270000"/>
                <a:gd name="connsiteY212" fmla="*/ 292100 h 1298575"/>
                <a:gd name="connsiteX213" fmla="*/ 109537 w 1270000"/>
                <a:gd name="connsiteY213" fmla="*/ 266700 h 1298575"/>
                <a:gd name="connsiteX214" fmla="*/ 134937 w 1270000"/>
                <a:gd name="connsiteY214" fmla="*/ 241300 h 1298575"/>
                <a:gd name="connsiteX215" fmla="*/ 1005616 w 1270000"/>
                <a:gd name="connsiteY215" fmla="*/ 179387 h 1298575"/>
                <a:gd name="connsiteX216" fmla="*/ 983360 w 1270000"/>
                <a:gd name="connsiteY216" fmla="*/ 356318 h 1298575"/>
                <a:gd name="connsiteX217" fmla="*/ 880699 w 1270000"/>
                <a:gd name="connsiteY217" fmla="*/ 419100 h 1298575"/>
                <a:gd name="connsiteX218" fmla="*/ 938132 w 1270000"/>
                <a:gd name="connsiteY218" fmla="*/ 334915 h 1298575"/>
                <a:gd name="connsiteX219" fmla="*/ 938850 w 1270000"/>
                <a:gd name="connsiteY219" fmla="*/ 334202 h 1298575"/>
                <a:gd name="connsiteX220" fmla="*/ 930953 w 1270000"/>
                <a:gd name="connsiteY220" fmla="*/ 282834 h 1298575"/>
                <a:gd name="connsiteX221" fmla="*/ 905108 w 1270000"/>
                <a:gd name="connsiteY221" fmla="*/ 273560 h 1298575"/>
                <a:gd name="connsiteX222" fmla="*/ 874238 w 1270000"/>
                <a:gd name="connsiteY222" fmla="*/ 288542 h 1298575"/>
                <a:gd name="connsiteX223" fmla="*/ 810343 w 1270000"/>
                <a:gd name="connsiteY223" fmla="*/ 367733 h 1298575"/>
                <a:gd name="connsiteX224" fmla="*/ 840496 w 1270000"/>
                <a:gd name="connsiteY224" fmla="*/ 252157 h 1298575"/>
                <a:gd name="connsiteX225" fmla="*/ 1005616 w 1270000"/>
                <a:gd name="connsiteY225" fmla="*/ 179387 h 1298575"/>
                <a:gd name="connsiteX226" fmla="*/ 263302 w 1270000"/>
                <a:gd name="connsiteY226" fmla="*/ 179387 h 1298575"/>
                <a:gd name="connsiteX227" fmla="*/ 426547 w 1270000"/>
                <a:gd name="connsiteY227" fmla="*/ 252157 h 1298575"/>
                <a:gd name="connsiteX228" fmla="*/ 456487 w 1270000"/>
                <a:gd name="connsiteY228" fmla="*/ 367019 h 1298575"/>
                <a:gd name="connsiteX229" fmla="*/ 393755 w 1270000"/>
                <a:gd name="connsiteY229" fmla="*/ 288542 h 1298575"/>
                <a:gd name="connsiteX230" fmla="*/ 363102 w 1270000"/>
                <a:gd name="connsiteY230" fmla="*/ 273560 h 1298575"/>
                <a:gd name="connsiteX231" fmla="*/ 337439 w 1270000"/>
                <a:gd name="connsiteY231" fmla="*/ 282834 h 1298575"/>
                <a:gd name="connsiteX232" fmla="*/ 329598 w 1270000"/>
                <a:gd name="connsiteY232" fmla="*/ 334202 h 1298575"/>
                <a:gd name="connsiteX233" fmla="*/ 329598 w 1270000"/>
                <a:gd name="connsiteY233" fmla="*/ 334915 h 1298575"/>
                <a:gd name="connsiteX234" fmla="*/ 386627 w 1270000"/>
                <a:gd name="connsiteY234" fmla="*/ 419100 h 1298575"/>
                <a:gd name="connsiteX235" fmla="*/ 285401 w 1270000"/>
                <a:gd name="connsiteY235" fmla="*/ 356318 h 1298575"/>
                <a:gd name="connsiteX236" fmla="*/ 263302 w 1270000"/>
                <a:gd name="connsiteY236" fmla="*/ 179387 h 1298575"/>
                <a:gd name="connsiteX237" fmla="*/ 633056 w 1270000"/>
                <a:gd name="connsiteY237" fmla="*/ 117475 h 1298575"/>
                <a:gd name="connsiteX238" fmla="*/ 755650 w 1270000"/>
                <a:gd name="connsiteY238" fmla="*/ 333349 h 1298575"/>
                <a:gd name="connsiteX239" fmla="*/ 682949 w 1270000"/>
                <a:gd name="connsiteY239" fmla="*/ 500063 h 1298575"/>
                <a:gd name="connsiteX240" fmla="*/ 677247 w 1270000"/>
                <a:gd name="connsiteY240" fmla="*/ 363272 h 1298575"/>
                <a:gd name="connsiteX241" fmla="*/ 677247 w 1270000"/>
                <a:gd name="connsiteY241" fmla="*/ 361847 h 1298575"/>
                <a:gd name="connsiteX242" fmla="*/ 635194 w 1270000"/>
                <a:gd name="connsiteY242" fmla="*/ 321949 h 1298575"/>
                <a:gd name="connsiteX243" fmla="*/ 631630 w 1270000"/>
                <a:gd name="connsiteY243" fmla="*/ 321949 h 1298575"/>
                <a:gd name="connsiteX244" fmla="*/ 588865 w 1270000"/>
                <a:gd name="connsiteY244" fmla="*/ 363984 h 1298575"/>
                <a:gd name="connsiteX245" fmla="*/ 583163 w 1270000"/>
                <a:gd name="connsiteY245" fmla="*/ 499350 h 1298575"/>
                <a:gd name="connsiteX246" fmla="*/ 511175 w 1270000"/>
                <a:gd name="connsiteY246" fmla="*/ 333349 h 1298575"/>
                <a:gd name="connsiteX247" fmla="*/ 633056 w 1270000"/>
                <a:gd name="connsiteY247" fmla="*/ 117475 h 1298575"/>
                <a:gd name="connsiteX248" fmla="*/ 934156 w 1270000"/>
                <a:gd name="connsiteY248" fmla="*/ 109537 h 1298575"/>
                <a:gd name="connsiteX249" fmla="*/ 958850 w 1270000"/>
                <a:gd name="connsiteY249" fmla="*/ 134937 h 1298575"/>
                <a:gd name="connsiteX250" fmla="*/ 934156 w 1270000"/>
                <a:gd name="connsiteY250" fmla="*/ 160337 h 1298575"/>
                <a:gd name="connsiteX251" fmla="*/ 908050 w 1270000"/>
                <a:gd name="connsiteY251" fmla="*/ 134937 h 1298575"/>
                <a:gd name="connsiteX252" fmla="*/ 934156 w 1270000"/>
                <a:gd name="connsiteY252" fmla="*/ 109537 h 1298575"/>
                <a:gd name="connsiteX253" fmla="*/ 335844 w 1270000"/>
                <a:gd name="connsiteY253" fmla="*/ 109537 h 1298575"/>
                <a:gd name="connsiteX254" fmla="*/ 361950 w 1270000"/>
                <a:gd name="connsiteY254" fmla="*/ 134937 h 1298575"/>
                <a:gd name="connsiteX255" fmla="*/ 335844 w 1270000"/>
                <a:gd name="connsiteY255" fmla="*/ 160337 h 1298575"/>
                <a:gd name="connsiteX256" fmla="*/ 311150 w 1270000"/>
                <a:gd name="connsiteY256" fmla="*/ 134937 h 1298575"/>
                <a:gd name="connsiteX257" fmla="*/ 335844 w 1270000"/>
                <a:gd name="connsiteY257" fmla="*/ 109537 h 1298575"/>
                <a:gd name="connsiteX258" fmla="*/ 1006409 w 1270000"/>
                <a:gd name="connsiteY258" fmla="*/ 92075 h 1298575"/>
                <a:gd name="connsiteX259" fmla="*/ 1031875 w 1270000"/>
                <a:gd name="connsiteY259" fmla="*/ 117475 h 1298575"/>
                <a:gd name="connsiteX260" fmla="*/ 1006409 w 1270000"/>
                <a:gd name="connsiteY260" fmla="*/ 142875 h 1298575"/>
                <a:gd name="connsiteX261" fmla="*/ 979487 w 1270000"/>
                <a:gd name="connsiteY261" fmla="*/ 117475 h 1298575"/>
                <a:gd name="connsiteX262" fmla="*/ 1006409 w 1270000"/>
                <a:gd name="connsiteY262" fmla="*/ 92075 h 1298575"/>
                <a:gd name="connsiteX263" fmla="*/ 263591 w 1270000"/>
                <a:gd name="connsiteY263" fmla="*/ 92075 h 1298575"/>
                <a:gd name="connsiteX264" fmla="*/ 290513 w 1270000"/>
                <a:gd name="connsiteY264" fmla="*/ 117475 h 1298575"/>
                <a:gd name="connsiteX265" fmla="*/ 263591 w 1270000"/>
                <a:gd name="connsiteY265" fmla="*/ 142875 h 1298575"/>
                <a:gd name="connsiteX266" fmla="*/ 238125 w 1270000"/>
                <a:gd name="connsiteY266" fmla="*/ 117475 h 1298575"/>
                <a:gd name="connsiteX267" fmla="*/ 263591 w 1270000"/>
                <a:gd name="connsiteY267" fmla="*/ 92075 h 1298575"/>
                <a:gd name="connsiteX268" fmla="*/ 718256 w 1270000"/>
                <a:gd name="connsiteY268" fmla="*/ 77787 h 1298575"/>
                <a:gd name="connsiteX269" fmla="*/ 742950 w 1270000"/>
                <a:gd name="connsiteY269" fmla="*/ 103187 h 1298575"/>
                <a:gd name="connsiteX270" fmla="*/ 718256 w 1270000"/>
                <a:gd name="connsiteY270" fmla="*/ 128587 h 1298575"/>
                <a:gd name="connsiteX271" fmla="*/ 692150 w 1270000"/>
                <a:gd name="connsiteY271" fmla="*/ 103187 h 1298575"/>
                <a:gd name="connsiteX272" fmla="*/ 718256 w 1270000"/>
                <a:gd name="connsiteY272" fmla="*/ 77787 h 1298575"/>
                <a:gd name="connsiteX273" fmla="*/ 551744 w 1270000"/>
                <a:gd name="connsiteY273" fmla="*/ 77787 h 1298575"/>
                <a:gd name="connsiteX274" fmla="*/ 577850 w 1270000"/>
                <a:gd name="connsiteY274" fmla="*/ 103187 h 1298575"/>
                <a:gd name="connsiteX275" fmla="*/ 551744 w 1270000"/>
                <a:gd name="connsiteY275" fmla="*/ 128587 h 1298575"/>
                <a:gd name="connsiteX276" fmla="*/ 527050 w 1270000"/>
                <a:gd name="connsiteY276" fmla="*/ 103187 h 1298575"/>
                <a:gd name="connsiteX277" fmla="*/ 551744 w 1270000"/>
                <a:gd name="connsiteY277" fmla="*/ 77787 h 1298575"/>
                <a:gd name="connsiteX278" fmla="*/ 863307 w 1270000"/>
                <a:gd name="connsiteY278" fmla="*/ 31750 h 1298575"/>
                <a:gd name="connsiteX279" fmla="*/ 886241 w 1270000"/>
                <a:gd name="connsiteY279" fmla="*/ 153071 h 1298575"/>
                <a:gd name="connsiteX280" fmla="*/ 805972 w 1270000"/>
                <a:gd name="connsiteY280" fmla="*/ 227013 h 1298575"/>
                <a:gd name="connsiteX281" fmla="*/ 824606 w 1270000"/>
                <a:gd name="connsiteY281" fmla="*/ 124356 h 1298575"/>
                <a:gd name="connsiteX282" fmla="*/ 783755 w 1270000"/>
                <a:gd name="connsiteY282" fmla="*/ 222706 h 1298575"/>
                <a:gd name="connsiteX283" fmla="*/ 770138 w 1270000"/>
                <a:gd name="connsiteY283" fmla="*/ 113588 h 1298575"/>
                <a:gd name="connsiteX284" fmla="*/ 863307 w 1270000"/>
                <a:gd name="connsiteY284" fmla="*/ 31750 h 1298575"/>
                <a:gd name="connsiteX285" fmla="*/ 408126 w 1270000"/>
                <a:gd name="connsiteY285" fmla="*/ 31750 h 1298575"/>
                <a:gd name="connsiteX286" fmla="*/ 500579 w 1270000"/>
                <a:gd name="connsiteY286" fmla="*/ 113588 h 1298575"/>
                <a:gd name="connsiteX287" fmla="*/ 486962 w 1270000"/>
                <a:gd name="connsiteY287" fmla="*/ 222706 h 1298575"/>
                <a:gd name="connsiteX288" fmla="*/ 445394 w 1270000"/>
                <a:gd name="connsiteY288" fmla="*/ 124356 h 1298575"/>
                <a:gd name="connsiteX289" fmla="*/ 464028 w 1270000"/>
                <a:gd name="connsiteY289" fmla="*/ 227013 h 1298575"/>
                <a:gd name="connsiteX290" fmla="*/ 384475 w 1270000"/>
                <a:gd name="connsiteY290" fmla="*/ 153071 h 1298575"/>
                <a:gd name="connsiteX291" fmla="*/ 408126 w 1270000"/>
                <a:gd name="connsiteY291" fmla="*/ 31750 h 1298575"/>
                <a:gd name="connsiteX292" fmla="*/ 685800 w 1270000"/>
                <a:gd name="connsiteY292" fmla="*/ 12700 h 1298575"/>
                <a:gd name="connsiteX293" fmla="*/ 711200 w 1270000"/>
                <a:gd name="connsiteY293" fmla="*/ 38100 h 1298575"/>
                <a:gd name="connsiteX294" fmla="*/ 685800 w 1270000"/>
                <a:gd name="connsiteY294" fmla="*/ 63500 h 1298575"/>
                <a:gd name="connsiteX295" fmla="*/ 660400 w 1270000"/>
                <a:gd name="connsiteY295" fmla="*/ 38100 h 1298575"/>
                <a:gd name="connsiteX296" fmla="*/ 685800 w 1270000"/>
                <a:gd name="connsiteY296" fmla="*/ 12700 h 1298575"/>
                <a:gd name="connsiteX297" fmla="*/ 584200 w 1270000"/>
                <a:gd name="connsiteY297" fmla="*/ 12700 h 1298575"/>
                <a:gd name="connsiteX298" fmla="*/ 609600 w 1270000"/>
                <a:gd name="connsiteY298" fmla="*/ 38100 h 1298575"/>
                <a:gd name="connsiteX299" fmla="*/ 584200 w 1270000"/>
                <a:gd name="connsiteY299" fmla="*/ 63500 h 1298575"/>
                <a:gd name="connsiteX300" fmla="*/ 558800 w 1270000"/>
                <a:gd name="connsiteY300" fmla="*/ 38100 h 1298575"/>
                <a:gd name="connsiteX301" fmla="*/ 584200 w 1270000"/>
                <a:gd name="connsiteY301" fmla="*/ 12700 h 1298575"/>
                <a:gd name="connsiteX302" fmla="*/ 762706 w 1270000"/>
                <a:gd name="connsiteY302" fmla="*/ 0 h 1298575"/>
                <a:gd name="connsiteX303" fmla="*/ 787400 w 1270000"/>
                <a:gd name="connsiteY303" fmla="*/ 25400 h 1298575"/>
                <a:gd name="connsiteX304" fmla="*/ 762706 w 1270000"/>
                <a:gd name="connsiteY304" fmla="*/ 50800 h 1298575"/>
                <a:gd name="connsiteX305" fmla="*/ 736600 w 1270000"/>
                <a:gd name="connsiteY305" fmla="*/ 25400 h 1298575"/>
                <a:gd name="connsiteX306" fmla="*/ 762706 w 1270000"/>
                <a:gd name="connsiteY306" fmla="*/ 0 h 1298575"/>
                <a:gd name="connsiteX307" fmla="*/ 507294 w 1270000"/>
                <a:gd name="connsiteY307" fmla="*/ 0 h 1298575"/>
                <a:gd name="connsiteX308" fmla="*/ 533400 w 1270000"/>
                <a:gd name="connsiteY308" fmla="*/ 25400 h 1298575"/>
                <a:gd name="connsiteX309" fmla="*/ 507294 w 1270000"/>
                <a:gd name="connsiteY309" fmla="*/ 50800 h 1298575"/>
                <a:gd name="connsiteX310" fmla="*/ 482600 w 1270000"/>
                <a:gd name="connsiteY310" fmla="*/ 25400 h 1298575"/>
                <a:gd name="connsiteX311" fmla="*/ 507294 w 1270000"/>
                <a:gd name="connsiteY311" fmla="*/ 0 h 1298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Lst>
              <a:rect l="l" t="t" r="r" b="b"/>
              <a:pathLst>
                <a:path w="1270000" h="1298575">
                  <a:moveTo>
                    <a:pt x="706437" y="1049337"/>
                  </a:moveTo>
                  <a:cubicBezTo>
                    <a:pt x="819907" y="1068509"/>
                    <a:pt x="908399" y="1130286"/>
                    <a:pt x="981905" y="1182122"/>
                  </a:cubicBezTo>
                  <a:cubicBezTo>
                    <a:pt x="1046847" y="1227567"/>
                    <a:pt x="1103225" y="1267332"/>
                    <a:pt x="1157462" y="1267332"/>
                  </a:cubicBezTo>
                  <a:cubicBezTo>
                    <a:pt x="1166739" y="1267332"/>
                    <a:pt x="1173162" y="1274432"/>
                    <a:pt x="1173162" y="1282953"/>
                  </a:cubicBezTo>
                  <a:cubicBezTo>
                    <a:pt x="1173162" y="1291474"/>
                    <a:pt x="1166739" y="1298575"/>
                    <a:pt x="1157462" y="1298575"/>
                  </a:cubicBezTo>
                  <a:cubicBezTo>
                    <a:pt x="1093234" y="1298575"/>
                    <a:pt x="1033287" y="1256680"/>
                    <a:pt x="963350" y="1207685"/>
                  </a:cubicBezTo>
                  <a:cubicBezTo>
                    <a:pt x="890558" y="1156559"/>
                    <a:pt x="809916" y="1099753"/>
                    <a:pt x="707865" y="1080581"/>
                  </a:cubicBezTo>
                  <a:cubicBezTo>
                    <a:pt x="707865" y="1080581"/>
                    <a:pt x="707865" y="1080581"/>
                    <a:pt x="706437" y="1049337"/>
                  </a:cubicBezTo>
                  <a:close/>
                  <a:moveTo>
                    <a:pt x="563562" y="1049337"/>
                  </a:moveTo>
                  <a:cubicBezTo>
                    <a:pt x="563562" y="1049337"/>
                    <a:pt x="563562" y="1049337"/>
                    <a:pt x="562846" y="1081291"/>
                  </a:cubicBezTo>
                  <a:cubicBezTo>
                    <a:pt x="460481" y="1100463"/>
                    <a:pt x="379592" y="1156559"/>
                    <a:pt x="307293" y="1207685"/>
                  </a:cubicBezTo>
                  <a:cubicBezTo>
                    <a:pt x="237141" y="1256680"/>
                    <a:pt x="177010" y="1298575"/>
                    <a:pt x="112585" y="1298575"/>
                  </a:cubicBezTo>
                  <a:cubicBezTo>
                    <a:pt x="103279" y="1298575"/>
                    <a:pt x="96837" y="1291474"/>
                    <a:pt x="96837" y="1282953"/>
                  </a:cubicBezTo>
                  <a:cubicBezTo>
                    <a:pt x="96837" y="1274432"/>
                    <a:pt x="103279" y="1267332"/>
                    <a:pt x="112585" y="1267332"/>
                  </a:cubicBezTo>
                  <a:cubicBezTo>
                    <a:pt x="166989" y="1267332"/>
                    <a:pt x="223540" y="1227567"/>
                    <a:pt x="288681" y="1182122"/>
                  </a:cubicBezTo>
                  <a:cubicBezTo>
                    <a:pt x="362412" y="1130286"/>
                    <a:pt x="451176" y="1068509"/>
                    <a:pt x="563562" y="1049337"/>
                  </a:cubicBezTo>
                  <a:close/>
                  <a:moveTo>
                    <a:pt x="1237456" y="927100"/>
                  </a:moveTo>
                  <a:cubicBezTo>
                    <a:pt x="1251281" y="927100"/>
                    <a:pt x="1263650" y="937683"/>
                    <a:pt x="1263650" y="952500"/>
                  </a:cubicBezTo>
                  <a:cubicBezTo>
                    <a:pt x="1263650" y="965905"/>
                    <a:pt x="1251281" y="977900"/>
                    <a:pt x="1237456" y="977900"/>
                  </a:cubicBezTo>
                  <a:cubicBezTo>
                    <a:pt x="1222904" y="977900"/>
                    <a:pt x="1211262" y="965905"/>
                    <a:pt x="1211262" y="952500"/>
                  </a:cubicBezTo>
                  <a:cubicBezTo>
                    <a:pt x="1211262" y="937683"/>
                    <a:pt x="1222904" y="927100"/>
                    <a:pt x="1237456" y="927100"/>
                  </a:cubicBezTo>
                  <a:close/>
                  <a:moveTo>
                    <a:pt x="32544" y="927100"/>
                  </a:moveTo>
                  <a:cubicBezTo>
                    <a:pt x="47096" y="927100"/>
                    <a:pt x="58738" y="937683"/>
                    <a:pt x="58738" y="952500"/>
                  </a:cubicBezTo>
                  <a:cubicBezTo>
                    <a:pt x="58738" y="965905"/>
                    <a:pt x="47096" y="977900"/>
                    <a:pt x="32544" y="977900"/>
                  </a:cubicBezTo>
                  <a:cubicBezTo>
                    <a:pt x="18719" y="977900"/>
                    <a:pt x="6350" y="965905"/>
                    <a:pt x="6350" y="952500"/>
                  </a:cubicBezTo>
                  <a:cubicBezTo>
                    <a:pt x="6350" y="937683"/>
                    <a:pt x="18719" y="927100"/>
                    <a:pt x="32544" y="927100"/>
                  </a:cubicBezTo>
                  <a:close/>
                  <a:moveTo>
                    <a:pt x="1160462" y="884237"/>
                  </a:moveTo>
                  <a:cubicBezTo>
                    <a:pt x="1173868" y="884237"/>
                    <a:pt x="1185862" y="894820"/>
                    <a:pt x="1185862" y="909637"/>
                  </a:cubicBezTo>
                  <a:cubicBezTo>
                    <a:pt x="1185862" y="923042"/>
                    <a:pt x="1173868" y="935037"/>
                    <a:pt x="1160462" y="935037"/>
                  </a:cubicBezTo>
                  <a:cubicBezTo>
                    <a:pt x="1146351" y="935037"/>
                    <a:pt x="1135062" y="923042"/>
                    <a:pt x="1135062" y="909637"/>
                  </a:cubicBezTo>
                  <a:cubicBezTo>
                    <a:pt x="1135062" y="894820"/>
                    <a:pt x="1146351" y="884237"/>
                    <a:pt x="1160462" y="884237"/>
                  </a:cubicBezTo>
                  <a:close/>
                  <a:moveTo>
                    <a:pt x="109537" y="884237"/>
                  </a:moveTo>
                  <a:cubicBezTo>
                    <a:pt x="123648" y="884237"/>
                    <a:pt x="134937" y="894820"/>
                    <a:pt x="134937" y="909637"/>
                  </a:cubicBezTo>
                  <a:cubicBezTo>
                    <a:pt x="134937" y="923042"/>
                    <a:pt x="123648" y="935037"/>
                    <a:pt x="109537" y="935037"/>
                  </a:cubicBezTo>
                  <a:cubicBezTo>
                    <a:pt x="96131" y="935037"/>
                    <a:pt x="84137" y="923042"/>
                    <a:pt x="84137" y="909637"/>
                  </a:cubicBezTo>
                  <a:cubicBezTo>
                    <a:pt x="84137" y="894820"/>
                    <a:pt x="96131" y="884237"/>
                    <a:pt x="109537" y="884237"/>
                  </a:cubicBezTo>
                  <a:close/>
                  <a:moveTo>
                    <a:pt x="925528" y="843383"/>
                  </a:moveTo>
                  <a:cubicBezTo>
                    <a:pt x="945739" y="842136"/>
                    <a:pt x="966665" y="844096"/>
                    <a:pt x="986697" y="851580"/>
                  </a:cubicBezTo>
                  <a:cubicBezTo>
                    <a:pt x="1068972" y="881515"/>
                    <a:pt x="1103313" y="988429"/>
                    <a:pt x="1103313" y="988429"/>
                  </a:cubicBezTo>
                  <a:cubicBezTo>
                    <a:pt x="1103313" y="988429"/>
                    <a:pt x="1006730" y="1046162"/>
                    <a:pt x="925170" y="1015513"/>
                  </a:cubicBezTo>
                  <a:cubicBezTo>
                    <a:pt x="883675" y="1000546"/>
                    <a:pt x="854342" y="965621"/>
                    <a:pt x="835025" y="934972"/>
                  </a:cubicBezTo>
                  <a:cubicBezTo>
                    <a:pt x="835025" y="934972"/>
                    <a:pt x="835025" y="934972"/>
                    <a:pt x="932324" y="967046"/>
                  </a:cubicBezTo>
                  <a:cubicBezTo>
                    <a:pt x="935902" y="968472"/>
                    <a:pt x="940194" y="968472"/>
                    <a:pt x="944487" y="968472"/>
                  </a:cubicBezTo>
                  <a:cubicBezTo>
                    <a:pt x="960942" y="968472"/>
                    <a:pt x="975966" y="958493"/>
                    <a:pt x="981689" y="942812"/>
                  </a:cubicBezTo>
                  <a:cubicBezTo>
                    <a:pt x="981689" y="942812"/>
                    <a:pt x="981689" y="942812"/>
                    <a:pt x="983120" y="940674"/>
                  </a:cubicBezTo>
                  <a:cubicBezTo>
                    <a:pt x="983120" y="940674"/>
                    <a:pt x="983120" y="940674"/>
                    <a:pt x="983836" y="937823"/>
                  </a:cubicBezTo>
                  <a:cubicBezTo>
                    <a:pt x="987413" y="919291"/>
                    <a:pt x="978112" y="900760"/>
                    <a:pt x="960942" y="892920"/>
                  </a:cubicBezTo>
                  <a:cubicBezTo>
                    <a:pt x="960942" y="892920"/>
                    <a:pt x="960942" y="892920"/>
                    <a:pt x="868651" y="854431"/>
                  </a:cubicBezTo>
                  <a:cubicBezTo>
                    <a:pt x="885821" y="849085"/>
                    <a:pt x="905317" y="844630"/>
                    <a:pt x="925528" y="843383"/>
                  </a:cubicBezTo>
                  <a:close/>
                  <a:moveTo>
                    <a:pt x="351885" y="843383"/>
                  </a:moveTo>
                  <a:cubicBezTo>
                    <a:pt x="372018" y="844630"/>
                    <a:pt x="391438" y="849085"/>
                    <a:pt x="408542" y="854431"/>
                  </a:cubicBezTo>
                  <a:cubicBezTo>
                    <a:pt x="408542" y="854431"/>
                    <a:pt x="408542" y="854431"/>
                    <a:pt x="314470" y="892920"/>
                  </a:cubicBezTo>
                  <a:cubicBezTo>
                    <a:pt x="314470" y="892920"/>
                    <a:pt x="314470" y="892920"/>
                    <a:pt x="313044" y="894345"/>
                  </a:cubicBezTo>
                  <a:cubicBezTo>
                    <a:pt x="297366" y="902898"/>
                    <a:pt x="289526" y="920717"/>
                    <a:pt x="293090" y="937823"/>
                  </a:cubicBezTo>
                  <a:cubicBezTo>
                    <a:pt x="293090" y="937823"/>
                    <a:pt x="293090" y="937823"/>
                    <a:pt x="293802" y="940674"/>
                  </a:cubicBezTo>
                  <a:cubicBezTo>
                    <a:pt x="293802" y="940674"/>
                    <a:pt x="293802" y="940674"/>
                    <a:pt x="294515" y="942812"/>
                  </a:cubicBezTo>
                  <a:cubicBezTo>
                    <a:pt x="300929" y="958493"/>
                    <a:pt x="315895" y="968472"/>
                    <a:pt x="332286" y="968472"/>
                  </a:cubicBezTo>
                  <a:cubicBezTo>
                    <a:pt x="336562" y="968472"/>
                    <a:pt x="340126" y="968472"/>
                    <a:pt x="344402" y="967046"/>
                  </a:cubicBezTo>
                  <a:cubicBezTo>
                    <a:pt x="344402" y="967046"/>
                    <a:pt x="344402" y="967046"/>
                    <a:pt x="441325" y="934972"/>
                  </a:cubicBezTo>
                  <a:cubicBezTo>
                    <a:pt x="422795" y="965621"/>
                    <a:pt x="393576" y="1000546"/>
                    <a:pt x="352954" y="1015513"/>
                  </a:cubicBezTo>
                  <a:cubicBezTo>
                    <a:pt x="272422" y="1046162"/>
                    <a:pt x="176212" y="988429"/>
                    <a:pt x="176212" y="988429"/>
                  </a:cubicBezTo>
                  <a:cubicBezTo>
                    <a:pt x="176212" y="988429"/>
                    <a:pt x="211133" y="881515"/>
                    <a:pt x="290952" y="851580"/>
                  </a:cubicBezTo>
                  <a:cubicBezTo>
                    <a:pt x="310906" y="844096"/>
                    <a:pt x="331752" y="842136"/>
                    <a:pt x="351885" y="843383"/>
                  </a:cubicBezTo>
                  <a:close/>
                  <a:moveTo>
                    <a:pt x="1245306" y="830262"/>
                  </a:moveTo>
                  <a:cubicBezTo>
                    <a:pt x="1258711" y="830262"/>
                    <a:pt x="1270000" y="841551"/>
                    <a:pt x="1270000" y="855662"/>
                  </a:cubicBezTo>
                  <a:cubicBezTo>
                    <a:pt x="1270000" y="869067"/>
                    <a:pt x="1258711" y="881062"/>
                    <a:pt x="1245306" y="881062"/>
                  </a:cubicBezTo>
                  <a:cubicBezTo>
                    <a:pt x="1230489" y="881062"/>
                    <a:pt x="1219200" y="869067"/>
                    <a:pt x="1219200" y="855662"/>
                  </a:cubicBezTo>
                  <a:cubicBezTo>
                    <a:pt x="1219200" y="841551"/>
                    <a:pt x="1230489" y="830262"/>
                    <a:pt x="1245306" y="830262"/>
                  </a:cubicBezTo>
                  <a:close/>
                  <a:moveTo>
                    <a:pt x="24694" y="830262"/>
                  </a:moveTo>
                  <a:cubicBezTo>
                    <a:pt x="39511" y="830262"/>
                    <a:pt x="50800" y="841551"/>
                    <a:pt x="50800" y="855662"/>
                  </a:cubicBezTo>
                  <a:cubicBezTo>
                    <a:pt x="50800" y="869067"/>
                    <a:pt x="39511" y="881062"/>
                    <a:pt x="24694" y="881062"/>
                  </a:cubicBezTo>
                  <a:cubicBezTo>
                    <a:pt x="11289" y="881062"/>
                    <a:pt x="0" y="869067"/>
                    <a:pt x="0" y="855662"/>
                  </a:cubicBezTo>
                  <a:cubicBezTo>
                    <a:pt x="0" y="841551"/>
                    <a:pt x="11289" y="830262"/>
                    <a:pt x="24694" y="830262"/>
                  </a:cubicBezTo>
                  <a:close/>
                  <a:moveTo>
                    <a:pt x="1121998" y="670836"/>
                  </a:moveTo>
                  <a:cubicBezTo>
                    <a:pt x="1132415" y="670134"/>
                    <a:pt x="1142778" y="670535"/>
                    <a:pt x="1152891" y="671739"/>
                  </a:cubicBezTo>
                  <a:cubicBezTo>
                    <a:pt x="1213571" y="678961"/>
                    <a:pt x="1265238" y="715072"/>
                    <a:pt x="1265238" y="715072"/>
                  </a:cubicBezTo>
                  <a:cubicBezTo>
                    <a:pt x="1265238" y="715072"/>
                    <a:pt x="1223940" y="820641"/>
                    <a:pt x="1142055" y="845607"/>
                  </a:cubicBezTo>
                  <a:cubicBezTo>
                    <a:pt x="1088652" y="862013"/>
                    <a:pt x="1021720" y="832054"/>
                    <a:pt x="988254" y="814935"/>
                  </a:cubicBezTo>
                  <a:cubicBezTo>
                    <a:pt x="988254" y="814935"/>
                    <a:pt x="1131374" y="769283"/>
                    <a:pt x="1123542" y="750024"/>
                  </a:cubicBezTo>
                  <a:cubicBezTo>
                    <a:pt x="1115709" y="731478"/>
                    <a:pt x="974725" y="784976"/>
                    <a:pt x="974725" y="784976"/>
                  </a:cubicBezTo>
                  <a:cubicBezTo>
                    <a:pt x="992526" y="752164"/>
                    <a:pt x="1036673" y="692247"/>
                    <a:pt x="1090788" y="676554"/>
                  </a:cubicBezTo>
                  <a:cubicBezTo>
                    <a:pt x="1101113" y="673344"/>
                    <a:pt x="1111582" y="671538"/>
                    <a:pt x="1121998" y="670836"/>
                  </a:cubicBezTo>
                  <a:close/>
                  <a:moveTo>
                    <a:pt x="148637" y="670836"/>
                  </a:moveTo>
                  <a:cubicBezTo>
                    <a:pt x="159036" y="671538"/>
                    <a:pt x="169470" y="673344"/>
                    <a:pt x="179736" y="676554"/>
                  </a:cubicBezTo>
                  <a:cubicBezTo>
                    <a:pt x="233300" y="692247"/>
                    <a:pt x="278293" y="752164"/>
                    <a:pt x="296862" y="784976"/>
                  </a:cubicBezTo>
                  <a:cubicBezTo>
                    <a:pt x="296862" y="784976"/>
                    <a:pt x="155454" y="731478"/>
                    <a:pt x="146170" y="750024"/>
                  </a:cubicBezTo>
                  <a:cubicBezTo>
                    <a:pt x="138314" y="769283"/>
                    <a:pt x="283292" y="814935"/>
                    <a:pt x="283292" y="814935"/>
                  </a:cubicBezTo>
                  <a:cubicBezTo>
                    <a:pt x="249012" y="832054"/>
                    <a:pt x="182593" y="862013"/>
                    <a:pt x="129029" y="845607"/>
                  </a:cubicBezTo>
                  <a:cubicBezTo>
                    <a:pt x="46184" y="820641"/>
                    <a:pt x="4762" y="715072"/>
                    <a:pt x="4762" y="715072"/>
                  </a:cubicBezTo>
                  <a:cubicBezTo>
                    <a:pt x="4762" y="715072"/>
                    <a:pt x="75845" y="665921"/>
                    <a:pt x="148637" y="670836"/>
                  </a:cubicBezTo>
                  <a:close/>
                  <a:moveTo>
                    <a:pt x="1240543" y="608012"/>
                  </a:moveTo>
                  <a:cubicBezTo>
                    <a:pt x="1253948" y="608012"/>
                    <a:pt x="1265237" y="619301"/>
                    <a:pt x="1265237" y="633412"/>
                  </a:cubicBezTo>
                  <a:cubicBezTo>
                    <a:pt x="1265237" y="646817"/>
                    <a:pt x="1253948" y="658812"/>
                    <a:pt x="1240543" y="658812"/>
                  </a:cubicBezTo>
                  <a:cubicBezTo>
                    <a:pt x="1225726" y="658812"/>
                    <a:pt x="1214437" y="646817"/>
                    <a:pt x="1214437" y="633412"/>
                  </a:cubicBezTo>
                  <a:cubicBezTo>
                    <a:pt x="1214437" y="619301"/>
                    <a:pt x="1225726" y="608012"/>
                    <a:pt x="1240543" y="608012"/>
                  </a:cubicBezTo>
                  <a:close/>
                  <a:moveTo>
                    <a:pt x="29456" y="608012"/>
                  </a:moveTo>
                  <a:cubicBezTo>
                    <a:pt x="44273" y="608012"/>
                    <a:pt x="55562" y="619301"/>
                    <a:pt x="55562" y="633412"/>
                  </a:cubicBezTo>
                  <a:cubicBezTo>
                    <a:pt x="55562" y="646817"/>
                    <a:pt x="44273" y="658812"/>
                    <a:pt x="29456" y="658812"/>
                  </a:cubicBezTo>
                  <a:cubicBezTo>
                    <a:pt x="16051" y="658812"/>
                    <a:pt x="4762" y="646817"/>
                    <a:pt x="4762" y="633412"/>
                  </a:cubicBezTo>
                  <a:cubicBezTo>
                    <a:pt x="4762" y="619301"/>
                    <a:pt x="16051" y="608012"/>
                    <a:pt x="29456" y="608012"/>
                  </a:cubicBezTo>
                  <a:close/>
                  <a:moveTo>
                    <a:pt x="1215593" y="470615"/>
                  </a:moveTo>
                  <a:cubicBezTo>
                    <a:pt x="1215593" y="470615"/>
                    <a:pt x="1233488" y="546375"/>
                    <a:pt x="1194835" y="592117"/>
                  </a:cubicBezTo>
                  <a:cubicBezTo>
                    <a:pt x="1171214" y="622850"/>
                    <a:pt x="1121108" y="631426"/>
                    <a:pt x="1095340" y="635000"/>
                  </a:cubicBezTo>
                  <a:cubicBezTo>
                    <a:pt x="1095340" y="635000"/>
                    <a:pt x="1159761" y="552807"/>
                    <a:pt x="1147593" y="544945"/>
                  </a:cubicBezTo>
                  <a:cubicBezTo>
                    <a:pt x="1135424" y="537083"/>
                    <a:pt x="1075298" y="623564"/>
                    <a:pt x="1075298" y="623564"/>
                  </a:cubicBezTo>
                  <a:cubicBezTo>
                    <a:pt x="1073150" y="597120"/>
                    <a:pt x="1075298" y="546375"/>
                    <a:pt x="1100350" y="516357"/>
                  </a:cubicBezTo>
                  <a:cubicBezTo>
                    <a:pt x="1137572" y="469900"/>
                    <a:pt x="1215593" y="470615"/>
                    <a:pt x="1215593" y="470615"/>
                  </a:cubicBezTo>
                  <a:close/>
                  <a:moveTo>
                    <a:pt x="46434" y="470615"/>
                  </a:moveTo>
                  <a:cubicBezTo>
                    <a:pt x="46434" y="470615"/>
                    <a:pt x="122873" y="469900"/>
                    <a:pt x="159306" y="516357"/>
                  </a:cubicBezTo>
                  <a:cubicBezTo>
                    <a:pt x="183595" y="546375"/>
                    <a:pt x="185738" y="597120"/>
                    <a:pt x="184309" y="623564"/>
                  </a:cubicBezTo>
                  <a:cubicBezTo>
                    <a:pt x="184309" y="623564"/>
                    <a:pt x="125016" y="537083"/>
                    <a:pt x="112871" y="544945"/>
                  </a:cubicBezTo>
                  <a:cubicBezTo>
                    <a:pt x="100727" y="552807"/>
                    <a:pt x="164306" y="635000"/>
                    <a:pt x="164306" y="635000"/>
                  </a:cubicBezTo>
                  <a:cubicBezTo>
                    <a:pt x="139303" y="631426"/>
                    <a:pt x="90011" y="622850"/>
                    <a:pt x="65722" y="592117"/>
                  </a:cubicBezTo>
                  <a:cubicBezTo>
                    <a:pt x="28575" y="546375"/>
                    <a:pt x="46434" y="470615"/>
                    <a:pt x="46434" y="470615"/>
                  </a:cubicBezTo>
                  <a:close/>
                  <a:moveTo>
                    <a:pt x="1017878" y="452437"/>
                  </a:moveTo>
                  <a:cubicBezTo>
                    <a:pt x="1017878" y="452437"/>
                    <a:pt x="1057275" y="592532"/>
                    <a:pt x="990658" y="682136"/>
                  </a:cubicBezTo>
                  <a:cubicBezTo>
                    <a:pt x="954843" y="730494"/>
                    <a:pt x="895389" y="754672"/>
                    <a:pt x="848112" y="766762"/>
                  </a:cubicBezTo>
                  <a:cubicBezTo>
                    <a:pt x="848112" y="766762"/>
                    <a:pt x="848112" y="766762"/>
                    <a:pt x="923325" y="655824"/>
                  </a:cubicBezTo>
                  <a:cubicBezTo>
                    <a:pt x="929772" y="646579"/>
                    <a:pt x="932637" y="634489"/>
                    <a:pt x="930488" y="623111"/>
                  </a:cubicBezTo>
                  <a:cubicBezTo>
                    <a:pt x="928339" y="611733"/>
                    <a:pt x="921176" y="601066"/>
                    <a:pt x="911148" y="594665"/>
                  </a:cubicBezTo>
                  <a:cubicBezTo>
                    <a:pt x="903984" y="589687"/>
                    <a:pt x="894672" y="586843"/>
                    <a:pt x="886077" y="586843"/>
                  </a:cubicBezTo>
                  <a:cubicBezTo>
                    <a:pt x="872467" y="586843"/>
                    <a:pt x="859573" y="593243"/>
                    <a:pt x="851694" y="603910"/>
                  </a:cubicBezTo>
                  <a:cubicBezTo>
                    <a:pt x="851694" y="603910"/>
                    <a:pt x="851694" y="603910"/>
                    <a:pt x="766452" y="709870"/>
                  </a:cubicBezTo>
                  <a:cubicBezTo>
                    <a:pt x="763587" y="661513"/>
                    <a:pt x="768601" y="597510"/>
                    <a:pt x="804417" y="547730"/>
                  </a:cubicBezTo>
                  <a:cubicBezTo>
                    <a:pt x="871034" y="458126"/>
                    <a:pt x="1017878" y="452437"/>
                    <a:pt x="1017878" y="452437"/>
                  </a:cubicBezTo>
                  <a:close/>
                  <a:moveTo>
                    <a:pt x="253592" y="452437"/>
                  </a:moveTo>
                  <a:cubicBezTo>
                    <a:pt x="253592" y="452437"/>
                    <a:pt x="399285" y="458139"/>
                    <a:pt x="465703" y="547946"/>
                  </a:cubicBezTo>
                  <a:cubicBezTo>
                    <a:pt x="502127" y="597839"/>
                    <a:pt x="506412" y="663412"/>
                    <a:pt x="503555" y="711880"/>
                  </a:cubicBezTo>
                  <a:cubicBezTo>
                    <a:pt x="503555" y="711880"/>
                    <a:pt x="503555" y="711880"/>
                    <a:pt x="417853" y="604254"/>
                  </a:cubicBezTo>
                  <a:cubicBezTo>
                    <a:pt x="409283" y="593562"/>
                    <a:pt x="396428" y="587148"/>
                    <a:pt x="382858" y="587148"/>
                  </a:cubicBezTo>
                  <a:cubicBezTo>
                    <a:pt x="374288" y="587148"/>
                    <a:pt x="365718" y="589999"/>
                    <a:pt x="358576" y="594988"/>
                  </a:cubicBezTo>
                  <a:cubicBezTo>
                    <a:pt x="347864" y="601403"/>
                    <a:pt x="341436" y="612094"/>
                    <a:pt x="338579" y="623498"/>
                  </a:cubicBezTo>
                  <a:cubicBezTo>
                    <a:pt x="336437" y="634902"/>
                    <a:pt x="339293" y="647019"/>
                    <a:pt x="345721" y="656285"/>
                  </a:cubicBezTo>
                  <a:cubicBezTo>
                    <a:pt x="345721" y="656285"/>
                    <a:pt x="345721" y="656285"/>
                    <a:pt x="419996" y="766762"/>
                  </a:cubicBezTo>
                  <a:cubicBezTo>
                    <a:pt x="373574" y="754645"/>
                    <a:pt x="315725" y="730411"/>
                    <a:pt x="280731" y="682657"/>
                  </a:cubicBezTo>
                  <a:cubicBezTo>
                    <a:pt x="214312" y="592850"/>
                    <a:pt x="253592" y="452437"/>
                    <a:pt x="253592" y="452437"/>
                  </a:cubicBezTo>
                  <a:close/>
                  <a:moveTo>
                    <a:pt x="1122720" y="379412"/>
                  </a:moveTo>
                  <a:cubicBezTo>
                    <a:pt x="1135599" y="379412"/>
                    <a:pt x="1147762" y="390701"/>
                    <a:pt x="1147762" y="404812"/>
                  </a:cubicBezTo>
                  <a:cubicBezTo>
                    <a:pt x="1147762" y="418217"/>
                    <a:pt x="1135599" y="430212"/>
                    <a:pt x="1122720" y="430212"/>
                  </a:cubicBezTo>
                  <a:cubicBezTo>
                    <a:pt x="1108410" y="430212"/>
                    <a:pt x="1096962" y="418217"/>
                    <a:pt x="1096962" y="404812"/>
                  </a:cubicBezTo>
                  <a:cubicBezTo>
                    <a:pt x="1096962" y="390701"/>
                    <a:pt x="1108410" y="379412"/>
                    <a:pt x="1122720" y="379412"/>
                  </a:cubicBezTo>
                  <a:close/>
                  <a:moveTo>
                    <a:pt x="147279" y="379412"/>
                  </a:moveTo>
                  <a:cubicBezTo>
                    <a:pt x="161589" y="379412"/>
                    <a:pt x="173037" y="390701"/>
                    <a:pt x="173037" y="404812"/>
                  </a:cubicBezTo>
                  <a:cubicBezTo>
                    <a:pt x="173037" y="418217"/>
                    <a:pt x="161589" y="430212"/>
                    <a:pt x="147279" y="430212"/>
                  </a:cubicBezTo>
                  <a:cubicBezTo>
                    <a:pt x="134400" y="430212"/>
                    <a:pt x="122237" y="418217"/>
                    <a:pt x="122237" y="404812"/>
                  </a:cubicBezTo>
                  <a:cubicBezTo>
                    <a:pt x="122237" y="390701"/>
                    <a:pt x="134400" y="379412"/>
                    <a:pt x="147279" y="379412"/>
                  </a:cubicBezTo>
                  <a:close/>
                  <a:moveTo>
                    <a:pt x="1178719" y="322262"/>
                  </a:moveTo>
                  <a:cubicBezTo>
                    <a:pt x="1193186" y="322262"/>
                    <a:pt x="1204913" y="333989"/>
                    <a:pt x="1204913" y="348456"/>
                  </a:cubicBezTo>
                  <a:cubicBezTo>
                    <a:pt x="1204913" y="362923"/>
                    <a:pt x="1193186" y="374650"/>
                    <a:pt x="1178719" y="374650"/>
                  </a:cubicBezTo>
                  <a:cubicBezTo>
                    <a:pt x="1164252" y="374650"/>
                    <a:pt x="1152525" y="362923"/>
                    <a:pt x="1152525" y="348456"/>
                  </a:cubicBezTo>
                  <a:cubicBezTo>
                    <a:pt x="1152525" y="333989"/>
                    <a:pt x="1164252" y="322262"/>
                    <a:pt x="1178719" y="322262"/>
                  </a:cubicBezTo>
                  <a:close/>
                  <a:moveTo>
                    <a:pt x="91281" y="322262"/>
                  </a:moveTo>
                  <a:cubicBezTo>
                    <a:pt x="105748" y="322262"/>
                    <a:pt x="117475" y="333989"/>
                    <a:pt x="117475" y="348456"/>
                  </a:cubicBezTo>
                  <a:cubicBezTo>
                    <a:pt x="117475" y="362923"/>
                    <a:pt x="105748" y="374650"/>
                    <a:pt x="91281" y="374650"/>
                  </a:cubicBezTo>
                  <a:cubicBezTo>
                    <a:pt x="76814" y="374650"/>
                    <a:pt x="65087" y="362923"/>
                    <a:pt x="65087" y="348456"/>
                  </a:cubicBezTo>
                  <a:cubicBezTo>
                    <a:pt x="65087" y="333989"/>
                    <a:pt x="76814" y="322262"/>
                    <a:pt x="91281" y="322262"/>
                  </a:cubicBezTo>
                  <a:close/>
                  <a:moveTo>
                    <a:pt x="358110" y="306784"/>
                  </a:moveTo>
                  <a:cubicBezTo>
                    <a:pt x="361678" y="303212"/>
                    <a:pt x="366675" y="303926"/>
                    <a:pt x="369530" y="307499"/>
                  </a:cubicBezTo>
                  <a:cubicBezTo>
                    <a:pt x="369530" y="307499"/>
                    <a:pt x="369530" y="307499"/>
                    <a:pt x="610776" y="610449"/>
                  </a:cubicBezTo>
                  <a:cubicBezTo>
                    <a:pt x="610776" y="610449"/>
                    <a:pt x="610776" y="610449"/>
                    <a:pt x="620054" y="366088"/>
                  </a:cubicBezTo>
                  <a:cubicBezTo>
                    <a:pt x="620768" y="358229"/>
                    <a:pt x="626478" y="352513"/>
                    <a:pt x="633616" y="353227"/>
                  </a:cubicBezTo>
                  <a:cubicBezTo>
                    <a:pt x="640753" y="353227"/>
                    <a:pt x="645749" y="358943"/>
                    <a:pt x="646463" y="366088"/>
                  </a:cubicBezTo>
                  <a:cubicBezTo>
                    <a:pt x="646463" y="366088"/>
                    <a:pt x="646463" y="366088"/>
                    <a:pt x="656456" y="611878"/>
                  </a:cubicBezTo>
                  <a:cubicBezTo>
                    <a:pt x="656456" y="611878"/>
                    <a:pt x="656456" y="611878"/>
                    <a:pt x="898416" y="307499"/>
                  </a:cubicBezTo>
                  <a:cubicBezTo>
                    <a:pt x="901271" y="303926"/>
                    <a:pt x="906267" y="303212"/>
                    <a:pt x="909836" y="306784"/>
                  </a:cubicBezTo>
                  <a:cubicBezTo>
                    <a:pt x="913405" y="308928"/>
                    <a:pt x="913405" y="313929"/>
                    <a:pt x="911263" y="317502"/>
                  </a:cubicBezTo>
                  <a:cubicBezTo>
                    <a:pt x="911263" y="317502"/>
                    <a:pt x="911263" y="317502"/>
                    <a:pt x="659311" y="690474"/>
                  </a:cubicBezTo>
                  <a:cubicBezTo>
                    <a:pt x="659311" y="690474"/>
                    <a:pt x="659311" y="690474"/>
                    <a:pt x="667162" y="887677"/>
                  </a:cubicBezTo>
                  <a:cubicBezTo>
                    <a:pt x="667162" y="887677"/>
                    <a:pt x="667162" y="887677"/>
                    <a:pt x="876290" y="623310"/>
                  </a:cubicBezTo>
                  <a:cubicBezTo>
                    <a:pt x="880572" y="617594"/>
                    <a:pt x="888424" y="616880"/>
                    <a:pt x="893420" y="621167"/>
                  </a:cubicBezTo>
                  <a:cubicBezTo>
                    <a:pt x="900557" y="624739"/>
                    <a:pt x="901985" y="633313"/>
                    <a:pt x="897702" y="638315"/>
                  </a:cubicBezTo>
                  <a:cubicBezTo>
                    <a:pt x="897702" y="638315"/>
                    <a:pt x="897702" y="638315"/>
                    <a:pt x="760663" y="842663"/>
                  </a:cubicBezTo>
                  <a:cubicBezTo>
                    <a:pt x="760663" y="842663"/>
                    <a:pt x="760663" y="842663"/>
                    <a:pt x="948378" y="921973"/>
                  </a:cubicBezTo>
                  <a:cubicBezTo>
                    <a:pt x="951947" y="924117"/>
                    <a:pt x="954088" y="927689"/>
                    <a:pt x="953374" y="931976"/>
                  </a:cubicBezTo>
                  <a:cubicBezTo>
                    <a:pt x="951233" y="936263"/>
                    <a:pt x="946237" y="939121"/>
                    <a:pt x="942668" y="937692"/>
                  </a:cubicBezTo>
                  <a:cubicBezTo>
                    <a:pt x="942668" y="937692"/>
                    <a:pt x="942668" y="937692"/>
                    <a:pt x="741392" y="871243"/>
                  </a:cubicBezTo>
                  <a:cubicBezTo>
                    <a:pt x="741392" y="871243"/>
                    <a:pt x="741392" y="871243"/>
                    <a:pt x="670730" y="976275"/>
                  </a:cubicBezTo>
                  <a:cubicBezTo>
                    <a:pt x="670730" y="976275"/>
                    <a:pt x="670730" y="976275"/>
                    <a:pt x="677154" y="1130609"/>
                  </a:cubicBezTo>
                  <a:cubicBezTo>
                    <a:pt x="677868" y="1154902"/>
                    <a:pt x="659311" y="1174908"/>
                    <a:pt x="635043" y="1176337"/>
                  </a:cubicBezTo>
                  <a:cubicBezTo>
                    <a:pt x="611490" y="1176337"/>
                    <a:pt x="591505" y="1158475"/>
                    <a:pt x="590077" y="1134181"/>
                  </a:cubicBezTo>
                  <a:cubicBezTo>
                    <a:pt x="590077" y="1133467"/>
                    <a:pt x="590077" y="1132038"/>
                    <a:pt x="590077" y="1130609"/>
                  </a:cubicBezTo>
                  <a:cubicBezTo>
                    <a:pt x="590077" y="1130609"/>
                    <a:pt x="590077" y="1130609"/>
                    <a:pt x="592218" y="1093455"/>
                  </a:cubicBezTo>
                  <a:cubicBezTo>
                    <a:pt x="592218" y="1093455"/>
                    <a:pt x="592218" y="1093455"/>
                    <a:pt x="596501" y="971988"/>
                  </a:cubicBezTo>
                  <a:cubicBezTo>
                    <a:pt x="596501" y="971988"/>
                    <a:pt x="596501" y="971988"/>
                    <a:pt x="530122" y="873387"/>
                  </a:cubicBezTo>
                  <a:cubicBezTo>
                    <a:pt x="530122" y="873387"/>
                    <a:pt x="530122" y="873387"/>
                    <a:pt x="335270" y="937692"/>
                  </a:cubicBezTo>
                  <a:cubicBezTo>
                    <a:pt x="330987" y="939121"/>
                    <a:pt x="326705" y="936263"/>
                    <a:pt x="324563" y="931976"/>
                  </a:cubicBezTo>
                  <a:cubicBezTo>
                    <a:pt x="323850" y="927689"/>
                    <a:pt x="325991" y="924117"/>
                    <a:pt x="329560" y="921973"/>
                  </a:cubicBezTo>
                  <a:cubicBezTo>
                    <a:pt x="329560" y="921973"/>
                    <a:pt x="329560" y="921973"/>
                    <a:pt x="511565" y="846236"/>
                  </a:cubicBezTo>
                  <a:cubicBezTo>
                    <a:pt x="511565" y="846236"/>
                    <a:pt x="511565" y="846236"/>
                    <a:pt x="372385" y="638315"/>
                  </a:cubicBezTo>
                  <a:cubicBezTo>
                    <a:pt x="368816" y="633313"/>
                    <a:pt x="370243" y="624739"/>
                    <a:pt x="376667" y="621167"/>
                  </a:cubicBezTo>
                  <a:cubicBezTo>
                    <a:pt x="382377" y="616880"/>
                    <a:pt x="389514" y="617594"/>
                    <a:pt x="393797" y="623310"/>
                  </a:cubicBezTo>
                  <a:cubicBezTo>
                    <a:pt x="393797" y="623310"/>
                    <a:pt x="393797" y="623310"/>
                    <a:pt x="600070" y="883390"/>
                  </a:cubicBezTo>
                  <a:cubicBezTo>
                    <a:pt x="600070" y="883390"/>
                    <a:pt x="600070" y="883390"/>
                    <a:pt x="607207" y="689045"/>
                  </a:cubicBezTo>
                  <a:cubicBezTo>
                    <a:pt x="607207" y="689045"/>
                    <a:pt x="607207" y="689045"/>
                    <a:pt x="356682" y="317502"/>
                  </a:cubicBezTo>
                  <a:cubicBezTo>
                    <a:pt x="354541" y="313929"/>
                    <a:pt x="354541" y="308928"/>
                    <a:pt x="358110" y="306784"/>
                  </a:cubicBezTo>
                  <a:close/>
                  <a:moveTo>
                    <a:pt x="1085850" y="296862"/>
                  </a:moveTo>
                  <a:cubicBezTo>
                    <a:pt x="1099878" y="296862"/>
                    <a:pt x="1111250" y="308234"/>
                    <a:pt x="1111250" y="322262"/>
                  </a:cubicBezTo>
                  <a:cubicBezTo>
                    <a:pt x="1111250" y="336290"/>
                    <a:pt x="1099878" y="347662"/>
                    <a:pt x="1085850" y="347662"/>
                  </a:cubicBezTo>
                  <a:cubicBezTo>
                    <a:pt x="1071822" y="347662"/>
                    <a:pt x="1060450" y="336290"/>
                    <a:pt x="1060450" y="322262"/>
                  </a:cubicBezTo>
                  <a:cubicBezTo>
                    <a:pt x="1060450" y="308234"/>
                    <a:pt x="1071822" y="296862"/>
                    <a:pt x="1085850" y="296862"/>
                  </a:cubicBezTo>
                  <a:close/>
                  <a:moveTo>
                    <a:pt x="184150" y="296862"/>
                  </a:moveTo>
                  <a:cubicBezTo>
                    <a:pt x="198178" y="296862"/>
                    <a:pt x="209550" y="308234"/>
                    <a:pt x="209550" y="322262"/>
                  </a:cubicBezTo>
                  <a:cubicBezTo>
                    <a:pt x="209550" y="336290"/>
                    <a:pt x="198178" y="347662"/>
                    <a:pt x="184150" y="347662"/>
                  </a:cubicBezTo>
                  <a:cubicBezTo>
                    <a:pt x="170122" y="347662"/>
                    <a:pt x="158750" y="336290"/>
                    <a:pt x="158750" y="322262"/>
                  </a:cubicBezTo>
                  <a:cubicBezTo>
                    <a:pt x="158750" y="308234"/>
                    <a:pt x="170122" y="296862"/>
                    <a:pt x="184150" y="296862"/>
                  </a:cubicBezTo>
                  <a:close/>
                  <a:moveTo>
                    <a:pt x="1135062" y="241300"/>
                  </a:moveTo>
                  <a:cubicBezTo>
                    <a:pt x="1149090" y="241300"/>
                    <a:pt x="1160462" y="252672"/>
                    <a:pt x="1160462" y="266700"/>
                  </a:cubicBezTo>
                  <a:cubicBezTo>
                    <a:pt x="1160462" y="280728"/>
                    <a:pt x="1149090" y="292100"/>
                    <a:pt x="1135062" y="292100"/>
                  </a:cubicBezTo>
                  <a:cubicBezTo>
                    <a:pt x="1121034" y="292100"/>
                    <a:pt x="1109662" y="280728"/>
                    <a:pt x="1109662" y="266700"/>
                  </a:cubicBezTo>
                  <a:cubicBezTo>
                    <a:pt x="1109662" y="252672"/>
                    <a:pt x="1121034" y="241300"/>
                    <a:pt x="1135062" y="241300"/>
                  </a:cubicBezTo>
                  <a:close/>
                  <a:moveTo>
                    <a:pt x="134937" y="241300"/>
                  </a:moveTo>
                  <a:cubicBezTo>
                    <a:pt x="148965" y="241300"/>
                    <a:pt x="160337" y="252672"/>
                    <a:pt x="160337" y="266700"/>
                  </a:cubicBezTo>
                  <a:cubicBezTo>
                    <a:pt x="160337" y="280728"/>
                    <a:pt x="148965" y="292100"/>
                    <a:pt x="134937" y="292100"/>
                  </a:cubicBezTo>
                  <a:cubicBezTo>
                    <a:pt x="120909" y="292100"/>
                    <a:pt x="109537" y="280728"/>
                    <a:pt x="109537" y="266700"/>
                  </a:cubicBezTo>
                  <a:cubicBezTo>
                    <a:pt x="109537" y="252672"/>
                    <a:pt x="120909" y="241300"/>
                    <a:pt x="134937" y="241300"/>
                  </a:cubicBezTo>
                  <a:close/>
                  <a:moveTo>
                    <a:pt x="1005616" y="179387"/>
                  </a:moveTo>
                  <a:cubicBezTo>
                    <a:pt x="1005616" y="179387"/>
                    <a:pt x="1035050" y="287115"/>
                    <a:pt x="983360" y="356318"/>
                  </a:cubicBezTo>
                  <a:cubicBezTo>
                    <a:pt x="957516" y="391989"/>
                    <a:pt x="915877" y="409825"/>
                    <a:pt x="880699" y="419100"/>
                  </a:cubicBezTo>
                  <a:cubicBezTo>
                    <a:pt x="880699" y="419100"/>
                    <a:pt x="880699" y="419100"/>
                    <a:pt x="938132" y="334915"/>
                  </a:cubicBezTo>
                  <a:cubicBezTo>
                    <a:pt x="938132" y="334915"/>
                    <a:pt x="938132" y="334915"/>
                    <a:pt x="938850" y="334202"/>
                  </a:cubicBezTo>
                  <a:cubicBezTo>
                    <a:pt x="949618" y="317079"/>
                    <a:pt x="946029" y="295676"/>
                    <a:pt x="930953" y="282834"/>
                  </a:cubicBezTo>
                  <a:cubicBezTo>
                    <a:pt x="923774" y="276414"/>
                    <a:pt x="914441" y="273560"/>
                    <a:pt x="905108" y="273560"/>
                  </a:cubicBezTo>
                  <a:cubicBezTo>
                    <a:pt x="892903" y="273560"/>
                    <a:pt x="881417" y="278554"/>
                    <a:pt x="874238" y="288542"/>
                  </a:cubicBezTo>
                  <a:cubicBezTo>
                    <a:pt x="874238" y="288542"/>
                    <a:pt x="874238" y="288542"/>
                    <a:pt x="810343" y="367733"/>
                  </a:cubicBezTo>
                  <a:cubicBezTo>
                    <a:pt x="809625" y="331348"/>
                    <a:pt x="814651" y="287115"/>
                    <a:pt x="840496" y="252157"/>
                  </a:cubicBezTo>
                  <a:cubicBezTo>
                    <a:pt x="892185" y="182954"/>
                    <a:pt x="1005616" y="179387"/>
                    <a:pt x="1005616" y="179387"/>
                  </a:cubicBezTo>
                  <a:close/>
                  <a:moveTo>
                    <a:pt x="263302" y="179387"/>
                  </a:moveTo>
                  <a:cubicBezTo>
                    <a:pt x="263302" y="179387"/>
                    <a:pt x="375221" y="182954"/>
                    <a:pt x="426547" y="252157"/>
                  </a:cubicBezTo>
                  <a:cubicBezTo>
                    <a:pt x="452210" y="287115"/>
                    <a:pt x="457200" y="331348"/>
                    <a:pt x="456487" y="367019"/>
                  </a:cubicBezTo>
                  <a:cubicBezTo>
                    <a:pt x="456487" y="367019"/>
                    <a:pt x="456487" y="367019"/>
                    <a:pt x="393755" y="288542"/>
                  </a:cubicBezTo>
                  <a:cubicBezTo>
                    <a:pt x="385914" y="278554"/>
                    <a:pt x="374508" y="273560"/>
                    <a:pt x="363102" y="273560"/>
                  </a:cubicBezTo>
                  <a:cubicBezTo>
                    <a:pt x="353122" y="273560"/>
                    <a:pt x="343855" y="276414"/>
                    <a:pt x="337439" y="282834"/>
                  </a:cubicBezTo>
                  <a:cubicBezTo>
                    <a:pt x="321756" y="295676"/>
                    <a:pt x="318905" y="317079"/>
                    <a:pt x="329598" y="334202"/>
                  </a:cubicBezTo>
                  <a:cubicBezTo>
                    <a:pt x="329598" y="334202"/>
                    <a:pt x="329598" y="334202"/>
                    <a:pt x="329598" y="334915"/>
                  </a:cubicBezTo>
                  <a:cubicBezTo>
                    <a:pt x="329598" y="334915"/>
                    <a:pt x="329598" y="334915"/>
                    <a:pt x="386627" y="419100"/>
                  </a:cubicBezTo>
                  <a:cubicBezTo>
                    <a:pt x="352409" y="409825"/>
                    <a:pt x="310351" y="391989"/>
                    <a:pt x="285401" y="356318"/>
                  </a:cubicBezTo>
                  <a:cubicBezTo>
                    <a:pt x="233362" y="287115"/>
                    <a:pt x="263302" y="179387"/>
                    <a:pt x="263302" y="179387"/>
                  </a:cubicBezTo>
                  <a:close/>
                  <a:moveTo>
                    <a:pt x="633056" y="117475"/>
                  </a:moveTo>
                  <a:cubicBezTo>
                    <a:pt x="633056" y="117475"/>
                    <a:pt x="755650" y="214369"/>
                    <a:pt x="755650" y="333349"/>
                  </a:cubicBezTo>
                  <a:cubicBezTo>
                    <a:pt x="755650" y="400319"/>
                    <a:pt x="716449" y="460165"/>
                    <a:pt x="682949" y="500063"/>
                  </a:cubicBezTo>
                  <a:cubicBezTo>
                    <a:pt x="682949" y="500063"/>
                    <a:pt x="682949" y="500063"/>
                    <a:pt x="677247" y="363272"/>
                  </a:cubicBezTo>
                  <a:cubicBezTo>
                    <a:pt x="677247" y="363272"/>
                    <a:pt x="677247" y="363272"/>
                    <a:pt x="677247" y="361847"/>
                  </a:cubicBezTo>
                  <a:cubicBezTo>
                    <a:pt x="674396" y="339761"/>
                    <a:pt x="656577" y="323374"/>
                    <a:pt x="635194" y="321949"/>
                  </a:cubicBezTo>
                  <a:cubicBezTo>
                    <a:pt x="633769" y="321949"/>
                    <a:pt x="633056" y="321949"/>
                    <a:pt x="631630" y="321949"/>
                  </a:cubicBezTo>
                  <a:cubicBezTo>
                    <a:pt x="608822" y="321949"/>
                    <a:pt x="589578" y="340473"/>
                    <a:pt x="588865" y="363984"/>
                  </a:cubicBezTo>
                  <a:cubicBezTo>
                    <a:pt x="588865" y="363984"/>
                    <a:pt x="588865" y="363984"/>
                    <a:pt x="583163" y="499350"/>
                  </a:cubicBezTo>
                  <a:cubicBezTo>
                    <a:pt x="549664" y="459453"/>
                    <a:pt x="511175" y="400319"/>
                    <a:pt x="511175" y="333349"/>
                  </a:cubicBezTo>
                  <a:cubicBezTo>
                    <a:pt x="511175" y="214369"/>
                    <a:pt x="633056" y="117475"/>
                    <a:pt x="633056" y="117475"/>
                  </a:cubicBezTo>
                  <a:close/>
                  <a:moveTo>
                    <a:pt x="934156" y="109537"/>
                  </a:moveTo>
                  <a:cubicBezTo>
                    <a:pt x="947561" y="109537"/>
                    <a:pt x="958850" y="120826"/>
                    <a:pt x="958850" y="134937"/>
                  </a:cubicBezTo>
                  <a:cubicBezTo>
                    <a:pt x="958850" y="149048"/>
                    <a:pt x="947561" y="160337"/>
                    <a:pt x="934156" y="160337"/>
                  </a:cubicBezTo>
                  <a:cubicBezTo>
                    <a:pt x="919339" y="160337"/>
                    <a:pt x="908050" y="149048"/>
                    <a:pt x="908050" y="134937"/>
                  </a:cubicBezTo>
                  <a:cubicBezTo>
                    <a:pt x="908050" y="120826"/>
                    <a:pt x="919339" y="109537"/>
                    <a:pt x="934156" y="109537"/>
                  </a:cubicBezTo>
                  <a:close/>
                  <a:moveTo>
                    <a:pt x="335844" y="109537"/>
                  </a:moveTo>
                  <a:cubicBezTo>
                    <a:pt x="350661" y="109537"/>
                    <a:pt x="361950" y="120826"/>
                    <a:pt x="361950" y="134937"/>
                  </a:cubicBezTo>
                  <a:cubicBezTo>
                    <a:pt x="361950" y="149048"/>
                    <a:pt x="350661" y="160337"/>
                    <a:pt x="335844" y="160337"/>
                  </a:cubicBezTo>
                  <a:cubicBezTo>
                    <a:pt x="322439" y="160337"/>
                    <a:pt x="311150" y="149048"/>
                    <a:pt x="311150" y="134937"/>
                  </a:cubicBezTo>
                  <a:cubicBezTo>
                    <a:pt x="311150" y="120826"/>
                    <a:pt x="322439" y="109537"/>
                    <a:pt x="335844" y="109537"/>
                  </a:cubicBezTo>
                  <a:close/>
                  <a:moveTo>
                    <a:pt x="1006409" y="92075"/>
                  </a:moveTo>
                  <a:cubicBezTo>
                    <a:pt x="1020233" y="92075"/>
                    <a:pt x="1031875" y="103364"/>
                    <a:pt x="1031875" y="117475"/>
                  </a:cubicBezTo>
                  <a:cubicBezTo>
                    <a:pt x="1031875" y="130880"/>
                    <a:pt x="1020233" y="142875"/>
                    <a:pt x="1006409" y="142875"/>
                  </a:cubicBezTo>
                  <a:cubicBezTo>
                    <a:pt x="991129" y="142875"/>
                    <a:pt x="979487" y="130880"/>
                    <a:pt x="979487" y="117475"/>
                  </a:cubicBezTo>
                  <a:cubicBezTo>
                    <a:pt x="979487" y="103364"/>
                    <a:pt x="991129" y="92075"/>
                    <a:pt x="1006409" y="92075"/>
                  </a:cubicBezTo>
                  <a:close/>
                  <a:moveTo>
                    <a:pt x="263591" y="92075"/>
                  </a:moveTo>
                  <a:cubicBezTo>
                    <a:pt x="278871" y="92075"/>
                    <a:pt x="290513" y="103364"/>
                    <a:pt x="290513" y="117475"/>
                  </a:cubicBezTo>
                  <a:cubicBezTo>
                    <a:pt x="290513" y="130880"/>
                    <a:pt x="278871" y="142875"/>
                    <a:pt x="263591" y="142875"/>
                  </a:cubicBezTo>
                  <a:cubicBezTo>
                    <a:pt x="249767" y="142875"/>
                    <a:pt x="238125" y="130880"/>
                    <a:pt x="238125" y="117475"/>
                  </a:cubicBezTo>
                  <a:cubicBezTo>
                    <a:pt x="238125" y="103364"/>
                    <a:pt x="249767" y="92075"/>
                    <a:pt x="263591" y="92075"/>
                  </a:cubicBezTo>
                  <a:close/>
                  <a:moveTo>
                    <a:pt x="718256" y="77787"/>
                  </a:moveTo>
                  <a:cubicBezTo>
                    <a:pt x="731661" y="77787"/>
                    <a:pt x="742950" y="89076"/>
                    <a:pt x="742950" y="103187"/>
                  </a:cubicBezTo>
                  <a:cubicBezTo>
                    <a:pt x="742950" y="116592"/>
                    <a:pt x="731661" y="128587"/>
                    <a:pt x="718256" y="128587"/>
                  </a:cubicBezTo>
                  <a:cubicBezTo>
                    <a:pt x="703439" y="128587"/>
                    <a:pt x="692150" y="116592"/>
                    <a:pt x="692150" y="103187"/>
                  </a:cubicBezTo>
                  <a:cubicBezTo>
                    <a:pt x="692150" y="89076"/>
                    <a:pt x="703439" y="77787"/>
                    <a:pt x="718256" y="77787"/>
                  </a:cubicBezTo>
                  <a:close/>
                  <a:moveTo>
                    <a:pt x="551744" y="77787"/>
                  </a:moveTo>
                  <a:cubicBezTo>
                    <a:pt x="566561" y="77787"/>
                    <a:pt x="577850" y="89076"/>
                    <a:pt x="577850" y="103187"/>
                  </a:cubicBezTo>
                  <a:cubicBezTo>
                    <a:pt x="577850" y="116592"/>
                    <a:pt x="566561" y="128587"/>
                    <a:pt x="551744" y="128587"/>
                  </a:cubicBezTo>
                  <a:cubicBezTo>
                    <a:pt x="538339" y="128587"/>
                    <a:pt x="527050" y="116592"/>
                    <a:pt x="527050" y="103187"/>
                  </a:cubicBezTo>
                  <a:cubicBezTo>
                    <a:pt x="527050" y="89076"/>
                    <a:pt x="538339" y="77787"/>
                    <a:pt x="551744" y="77787"/>
                  </a:cubicBezTo>
                  <a:close/>
                  <a:moveTo>
                    <a:pt x="863307" y="31750"/>
                  </a:moveTo>
                  <a:cubicBezTo>
                    <a:pt x="863307" y="31750"/>
                    <a:pt x="904875" y="96359"/>
                    <a:pt x="886241" y="153071"/>
                  </a:cubicBezTo>
                  <a:cubicBezTo>
                    <a:pt x="872624" y="189683"/>
                    <a:pt x="829623" y="214809"/>
                    <a:pt x="805972" y="227013"/>
                  </a:cubicBezTo>
                  <a:cubicBezTo>
                    <a:pt x="805972" y="227013"/>
                    <a:pt x="838940" y="127946"/>
                    <a:pt x="824606" y="124356"/>
                  </a:cubicBezTo>
                  <a:cubicBezTo>
                    <a:pt x="810989" y="121485"/>
                    <a:pt x="783755" y="222706"/>
                    <a:pt x="783755" y="222706"/>
                  </a:cubicBezTo>
                  <a:cubicBezTo>
                    <a:pt x="773004" y="198298"/>
                    <a:pt x="757237" y="150200"/>
                    <a:pt x="770138" y="113588"/>
                  </a:cubicBezTo>
                  <a:cubicBezTo>
                    <a:pt x="789488" y="57594"/>
                    <a:pt x="863307" y="31750"/>
                    <a:pt x="863307" y="31750"/>
                  </a:cubicBezTo>
                  <a:close/>
                  <a:moveTo>
                    <a:pt x="408126" y="31750"/>
                  </a:moveTo>
                  <a:cubicBezTo>
                    <a:pt x="408126" y="31750"/>
                    <a:pt x="481228" y="57594"/>
                    <a:pt x="500579" y="113588"/>
                  </a:cubicBezTo>
                  <a:cubicBezTo>
                    <a:pt x="512763" y="150200"/>
                    <a:pt x="497712" y="198298"/>
                    <a:pt x="486962" y="222706"/>
                  </a:cubicBezTo>
                  <a:cubicBezTo>
                    <a:pt x="486962" y="222706"/>
                    <a:pt x="459011" y="121485"/>
                    <a:pt x="445394" y="124356"/>
                  </a:cubicBezTo>
                  <a:cubicBezTo>
                    <a:pt x="431060" y="127946"/>
                    <a:pt x="464028" y="227013"/>
                    <a:pt x="464028" y="227013"/>
                  </a:cubicBezTo>
                  <a:cubicBezTo>
                    <a:pt x="441094" y="214809"/>
                    <a:pt x="396659" y="189683"/>
                    <a:pt x="384475" y="153071"/>
                  </a:cubicBezTo>
                  <a:cubicBezTo>
                    <a:pt x="365125" y="96359"/>
                    <a:pt x="408126" y="31750"/>
                    <a:pt x="408126" y="31750"/>
                  </a:cubicBezTo>
                  <a:close/>
                  <a:moveTo>
                    <a:pt x="685800" y="12700"/>
                  </a:moveTo>
                  <a:cubicBezTo>
                    <a:pt x="699828" y="12700"/>
                    <a:pt x="711200" y="24072"/>
                    <a:pt x="711200" y="38100"/>
                  </a:cubicBezTo>
                  <a:cubicBezTo>
                    <a:pt x="711200" y="52128"/>
                    <a:pt x="699828" y="63500"/>
                    <a:pt x="685800" y="63500"/>
                  </a:cubicBezTo>
                  <a:cubicBezTo>
                    <a:pt x="671772" y="63500"/>
                    <a:pt x="660400" y="52128"/>
                    <a:pt x="660400" y="38100"/>
                  </a:cubicBezTo>
                  <a:cubicBezTo>
                    <a:pt x="660400" y="24072"/>
                    <a:pt x="671772" y="12700"/>
                    <a:pt x="685800" y="12700"/>
                  </a:cubicBezTo>
                  <a:close/>
                  <a:moveTo>
                    <a:pt x="584200" y="12700"/>
                  </a:moveTo>
                  <a:cubicBezTo>
                    <a:pt x="598228" y="12700"/>
                    <a:pt x="609600" y="24072"/>
                    <a:pt x="609600" y="38100"/>
                  </a:cubicBezTo>
                  <a:cubicBezTo>
                    <a:pt x="609600" y="52128"/>
                    <a:pt x="598228" y="63500"/>
                    <a:pt x="584200" y="63500"/>
                  </a:cubicBezTo>
                  <a:cubicBezTo>
                    <a:pt x="570172" y="63500"/>
                    <a:pt x="558800" y="52128"/>
                    <a:pt x="558800" y="38100"/>
                  </a:cubicBezTo>
                  <a:cubicBezTo>
                    <a:pt x="558800" y="24072"/>
                    <a:pt x="570172" y="12700"/>
                    <a:pt x="584200" y="12700"/>
                  </a:cubicBezTo>
                  <a:close/>
                  <a:moveTo>
                    <a:pt x="762706" y="0"/>
                  </a:moveTo>
                  <a:cubicBezTo>
                    <a:pt x="776111" y="0"/>
                    <a:pt x="787400" y="11289"/>
                    <a:pt x="787400" y="25400"/>
                  </a:cubicBezTo>
                  <a:cubicBezTo>
                    <a:pt x="787400" y="38805"/>
                    <a:pt x="776111" y="50800"/>
                    <a:pt x="762706" y="50800"/>
                  </a:cubicBezTo>
                  <a:cubicBezTo>
                    <a:pt x="747889" y="50800"/>
                    <a:pt x="736600" y="38805"/>
                    <a:pt x="736600" y="25400"/>
                  </a:cubicBezTo>
                  <a:cubicBezTo>
                    <a:pt x="736600" y="11289"/>
                    <a:pt x="747889" y="0"/>
                    <a:pt x="762706" y="0"/>
                  </a:cubicBezTo>
                  <a:close/>
                  <a:moveTo>
                    <a:pt x="507294" y="0"/>
                  </a:moveTo>
                  <a:cubicBezTo>
                    <a:pt x="522111" y="0"/>
                    <a:pt x="533400" y="11289"/>
                    <a:pt x="533400" y="25400"/>
                  </a:cubicBezTo>
                  <a:cubicBezTo>
                    <a:pt x="533400" y="38805"/>
                    <a:pt x="522111" y="50800"/>
                    <a:pt x="507294" y="50800"/>
                  </a:cubicBezTo>
                  <a:cubicBezTo>
                    <a:pt x="493889" y="50800"/>
                    <a:pt x="482600" y="38805"/>
                    <a:pt x="482600" y="25400"/>
                  </a:cubicBezTo>
                  <a:cubicBezTo>
                    <a:pt x="482600" y="11289"/>
                    <a:pt x="493889" y="0"/>
                    <a:pt x="507294" y="0"/>
                  </a:cubicBez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spTree>
    <p:extLst>
      <p:ext uri="{BB962C8B-B14F-4D97-AF65-F5344CB8AC3E}">
        <p14:creationId xmlns:p14="http://schemas.microsoft.com/office/powerpoint/2010/main" val="5661635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2216310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1384" name="think-cell Slide" r:id="rId6" imgW="410" imgH="409" progId="TCLayout.ActiveDocument.1">
                  <p:embed/>
                </p:oleObj>
              </mc:Choice>
              <mc:Fallback>
                <p:oleObj name="think-cell Slide" r:id="rId6" imgW="410" imgH="409"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3400" dirty="0" smtClean="0">
              <a:solidFill>
                <a:srgbClr val="FFFFFF"/>
              </a:solidFill>
              <a:latin typeface="Trebuchet MS" panose="020B0603020202020204" pitchFamily="34" charset="0"/>
              <a:ea typeface="+mj-ea"/>
              <a:cs typeface="+mj-cs"/>
              <a:sym typeface="Trebuchet MS" panose="020B0603020202020204" pitchFamily="34" charset="0"/>
            </a:endParaRPr>
          </a:p>
        </p:txBody>
      </p:sp>
      <p:sp>
        <p:nvSpPr>
          <p:cNvPr id="3" name="Title 2"/>
          <p:cNvSpPr>
            <a:spLocks noGrp="1"/>
          </p:cNvSpPr>
          <p:nvPr>
            <p:ph type="title"/>
          </p:nvPr>
        </p:nvSpPr>
        <p:spPr/>
        <p:txBody>
          <a:bodyPr/>
          <a:lstStyle/>
          <a:p>
            <a:r>
              <a:rPr lang="en-US" dirty="0" smtClean="0"/>
              <a:t>Random Forest (Patricia)</a:t>
            </a:r>
            <a:endParaRPr lang="en-US" dirty="0"/>
          </a:p>
        </p:txBody>
      </p:sp>
    </p:spTree>
    <p:extLst>
      <p:ext uri="{BB962C8B-B14F-4D97-AF65-F5344CB8AC3E}">
        <p14:creationId xmlns:p14="http://schemas.microsoft.com/office/powerpoint/2010/main" val="23063293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THINKCELLPRESENTATIONDONOTDELETE" val="&lt;?xml version=&quot;1.0&quot; encoding=&quot;UTF-16&quot; standalone=&quot;yes&quot;?&gt;&lt;root reqver=&quot;23045&quot;&gt;&lt;version val=&quot;2418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EE4P_MASTERWIZARD_DRAFT" val="0"/>
  <p:tag name="EE4P_LANGUAGE_ID" val="1033"/>
  <p:tag name="EE4P_MASTERWIZARD_MARGINS" val="0"/>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tL28CRxvSpyEJWS2cuJbGA"/>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tL28CRxvSpyEJWS2cuJbGA"/>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YIPIB4KHQYuz1zH2_0Q0_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tL28CRxvSpyEJWS2cuJbGA"/>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tL28CRxvSpyEJWS2cuJbGA"/>
</p:tagLst>
</file>

<file path=ppt/tags/tag1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YIPIB4KHQYuz1zH2_0Q0_w"/>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3.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3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37.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8.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3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4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5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6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67.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6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0.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4it5jHA5R7OgNvPr6ZFzQ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VhieY.SGRiWv99Pe6ivQv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tL28CRxvSpyEJWS2cuJbGA"/>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YIPIB4KHQYuz1zH2_0Q0_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tL28CRxvSpyEJWS2cuJbG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tL28CRxvSpyEJWS2cuJbG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YIPIB4KHQYuz1zH2_0Q0_w"/>
</p:tagLst>
</file>

<file path=ppt/theme/theme1.xml><?xml version="1.0" encoding="utf-8"?>
<a:theme xmlns:a="http://schemas.openxmlformats.org/drawingml/2006/main" name="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CG_Grid_16x9.pptx" id="{6741F1D1-726F-4F5C-AF82-6A4B030D48FC}" vid="{32BB820F-5679-4F98-8B04-67B27827A899}"/>
    </a:ext>
  </a:extLst>
</a:theme>
</file>

<file path=ppt/theme/theme2.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blank</Template>
  <TotalTime>969</TotalTime>
  <Words>295</Words>
  <Application>Microsoft Office PowerPoint</Application>
  <PresentationFormat>Widescreen</PresentationFormat>
  <Paragraphs>72</Paragraphs>
  <Slides>17</Slides>
  <Notes>10</Notes>
  <HiddenSlides>0</HiddenSlides>
  <MMClips>0</MMClips>
  <ScaleCrop>false</ScaleCrop>
  <HeadingPairs>
    <vt:vector size="10"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17</vt:i4>
      </vt:variant>
      <vt:variant>
        <vt:lpstr>Custom Shows</vt:lpstr>
      </vt:variant>
      <vt:variant>
        <vt:i4>1</vt:i4>
      </vt:variant>
    </vt:vector>
  </HeadingPairs>
  <TitlesOfParts>
    <vt:vector size="23" baseType="lpstr">
      <vt:lpstr>Arial</vt:lpstr>
      <vt:lpstr>Trebuchet MS</vt:lpstr>
      <vt:lpstr>Wingdings</vt:lpstr>
      <vt:lpstr>BCG Grid 16:9</vt:lpstr>
      <vt:lpstr>think-cell Slide</vt:lpstr>
      <vt:lpstr>Machine Learning Project: ATP Tennis Analysis</vt:lpstr>
      <vt:lpstr>Agenda</vt:lpstr>
      <vt:lpstr>Clustering</vt:lpstr>
      <vt:lpstr>Data Cleanup (Alteryx)</vt:lpstr>
      <vt:lpstr>Clustering</vt:lpstr>
      <vt:lpstr>Playstyles</vt:lpstr>
      <vt:lpstr>PowerPoint Presentation</vt:lpstr>
      <vt:lpstr>Random Forest</vt:lpstr>
      <vt:lpstr>Random Forest (Patricia)</vt:lpstr>
      <vt:lpstr>Random Forest (Patricia)</vt:lpstr>
      <vt:lpstr>Predicting Point End Using Tracking Data </vt:lpstr>
      <vt:lpstr>Predicting Point Ending Using Tracking Data (Harish)</vt:lpstr>
      <vt:lpstr>Predicting Point Ending Using Tracking Data (Harish)</vt:lpstr>
      <vt:lpstr>ETL Process </vt:lpstr>
      <vt:lpstr>ETL Process</vt:lpstr>
      <vt:lpstr>ETL Process</vt:lpstr>
      <vt:lpstr>Conclusion </vt:lpstr>
      <vt:lpstr>Format Guide Workshop</vt:lpstr>
    </vt:vector>
  </TitlesOfParts>
  <Company>The Boston Consulting Group</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osephson, Andrew</dc:creator>
  <cp:lastModifiedBy>Josephson, Andrew</cp:lastModifiedBy>
  <cp:revision>16</cp:revision>
  <cp:lastPrinted>2016-04-06T18:59:25Z</cp:lastPrinted>
  <dcterms:created xsi:type="dcterms:W3CDTF">2019-08-05T15:31:24Z</dcterms:created>
  <dcterms:modified xsi:type="dcterms:W3CDTF">2019-08-07T13:33:2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ormat Name">
    <vt:lpwstr>Grid Format</vt:lpwstr>
  </property>
  <property fmtid="{D5CDD505-2E9C-101B-9397-08002B2CF9AE}" pid="3" name="NXPowerLiteLastOptimized">
    <vt:lpwstr>488649</vt:lpwstr>
  </property>
  <property fmtid="{D5CDD505-2E9C-101B-9397-08002B2CF9AE}" pid="4" name="NXPowerLiteSettings">
    <vt:lpwstr>87000AA0054001</vt:lpwstr>
  </property>
  <property fmtid="{D5CDD505-2E9C-101B-9397-08002B2CF9AE}" pid="5" name="NXPowerLiteVersion">
    <vt:lpwstr>D7.1.8</vt:lpwstr>
  </property>
  <property fmtid="{D5CDD505-2E9C-101B-9397-08002B2CF9AE}" pid="6" name="Template Name">
    <vt:lpwstr>16x9</vt:lpwstr>
  </property>
</Properties>
</file>